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2"/>
  </p:notesMasterIdLst>
  <p:sldIdLst>
    <p:sldId id="256" r:id="rId5"/>
    <p:sldId id="264" r:id="rId6"/>
    <p:sldId id="265" r:id="rId7"/>
    <p:sldId id="266" r:id="rId8"/>
    <p:sldId id="267" r:id="rId9"/>
    <p:sldId id="268" r:id="rId10"/>
    <p:sldId id="272" r:id="rId11"/>
    <p:sldId id="273" r:id="rId12"/>
    <p:sldId id="274" r:id="rId13"/>
    <p:sldId id="275" r:id="rId14"/>
    <p:sldId id="276" r:id="rId15"/>
    <p:sldId id="277" r:id="rId16"/>
    <p:sldId id="278" r:id="rId17"/>
    <p:sldId id="279" r:id="rId18"/>
    <p:sldId id="280" r:id="rId19"/>
    <p:sldId id="281" r:id="rId20"/>
    <p:sldId id="282" r:id="rId21"/>
    <p:sldId id="283" r:id="rId22"/>
    <p:sldId id="285" r:id="rId23"/>
    <p:sldId id="286" r:id="rId24"/>
    <p:sldId id="284" r:id="rId25"/>
    <p:sldId id="287" r:id="rId26"/>
    <p:sldId id="3127" r:id="rId27"/>
    <p:sldId id="290" r:id="rId28"/>
    <p:sldId id="291" r:id="rId29"/>
    <p:sldId id="293" r:id="rId30"/>
    <p:sldId id="294" r:id="rId31"/>
  </p:sldIdLst>
  <p:sldSz cx="9144000" cy="6858000" type="screen4x3"/>
  <p:notesSz cx="6950075" cy="9236075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4320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6" pos="5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ad Kostka" initials="BK" lastIdx="0" clrIdx="0">
    <p:extLst>
      <p:ext uri="{19B8F6BF-5375-455C-9EA6-DF929625EA0E}">
        <p15:presenceInfo xmlns:p15="http://schemas.microsoft.com/office/powerpoint/2012/main" userId="S::bkostka@roopco.com::5bf04b9e-3f2b-4203-8d7a-b84b746d51c3" providerId="AD"/>
      </p:ext>
    </p:extLst>
  </p:cmAuthor>
  <p:cmAuthor id="2" name="Joe Toula" initials="JT" lastIdx="0" clrIdx="1">
    <p:extLst>
      <p:ext uri="{19B8F6BF-5375-455C-9EA6-DF929625EA0E}">
        <p15:presenceInfo xmlns:p15="http://schemas.microsoft.com/office/powerpoint/2012/main" userId="S::jtoula@rpminc.com::2df48d24-f262-454e-ad9c-9a6f9fc72b19" providerId="AD"/>
      </p:ext>
    </p:extLst>
  </p:cmAuthor>
  <p:cmAuthor id="3" name="Cain, Caroline" initials="CC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9A5095-15C7-4BF8-A3D7-9D6D94260068}" v="455" dt="2024-03-25T15:14:30.230"/>
    <p1510:client id="{758B6FCB-C370-4F38-BB00-478B3AE7AF59}" v="14" dt="2024-03-25T18:44:22.0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53" autoAdjust="0"/>
    <p:restoredTop sz="95187" autoAdjust="0"/>
  </p:normalViewPr>
  <p:slideViewPr>
    <p:cSldViewPr snapToGrid="0">
      <p:cViewPr varScale="1">
        <p:scale>
          <a:sx n="108" d="100"/>
          <a:sy n="108" d="100"/>
        </p:scale>
        <p:origin x="1662" y="150"/>
      </p:cViewPr>
      <p:guideLst>
        <p:guide orient="horz" pos="2184"/>
        <p:guide pos="2880"/>
        <p:guide orient="horz" pos="4320"/>
        <p:guide orient="horz"/>
        <p:guide pos="5760"/>
      </p:guideLst>
    </p:cSldViewPr>
  </p:slideViewPr>
  <p:outlineViewPr>
    <p:cViewPr>
      <p:scale>
        <a:sx n="33" d="100"/>
        <a:sy n="33" d="100"/>
      </p:scale>
      <p:origin x="0" y="-944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elley Earl" userId="4951d46f-b647-4b3c-b822-5808962dcca8" providerId="ADAL" clId="{5F9A5095-15C7-4BF8-A3D7-9D6D94260068}"/>
    <pc:docChg chg="undo custSel addSld delSld modSld sldOrd">
      <pc:chgData name="Shelley Earl" userId="4951d46f-b647-4b3c-b822-5808962dcca8" providerId="ADAL" clId="{5F9A5095-15C7-4BF8-A3D7-9D6D94260068}" dt="2024-03-25T15:16:22.607" v="1141" actId="47"/>
      <pc:docMkLst>
        <pc:docMk/>
      </pc:docMkLst>
      <pc:sldChg chg="modSp mod">
        <pc:chgData name="Shelley Earl" userId="4951d46f-b647-4b3c-b822-5808962dcca8" providerId="ADAL" clId="{5F9A5095-15C7-4BF8-A3D7-9D6D94260068}" dt="2024-03-25T15:13:42.543" v="1028" actId="20577"/>
        <pc:sldMkLst>
          <pc:docMk/>
          <pc:sldMk cId="2097898915" sldId="264"/>
        </pc:sldMkLst>
        <pc:spChg chg="mod">
          <ac:chgData name="Shelley Earl" userId="4951d46f-b647-4b3c-b822-5808962dcca8" providerId="ADAL" clId="{5F9A5095-15C7-4BF8-A3D7-9D6D94260068}" dt="2024-03-25T15:13:42.543" v="1028" actId="20577"/>
          <ac:spMkLst>
            <pc:docMk/>
            <pc:sldMk cId="2097898915" sldId="264"/>
            <ac:spMk id="8" creationId="{87671493-6848-DBAF-4C09-CA1EE485840B}"/>
          </ac:spMkLst>
        </pc:spChg>
      </pc:sldChg>
      <pc:sldChg chg="modSp">
        <pc:chgData name="Shelley Earl" userId="4951d46f-b647-4b3c-b822-5808962dcca8" providerId="ADAL" clId="{5F9A5095-15C7-4BF8-A3D7-9D6D94260068}" dt="2024-03-25T14:32:37.392" v="19" actId="20577"/>
        <pc:sldMkLst>
          <pc:docMk/>
          <pc:sldMk cId="3009587968" sldId="268"/>
        </pc:sldMkLst>
        <pc:graphicFrameChg chg="mod">
          <ac:chgData name="Shelley Earl" userId="4951d46f-b647-4b3c-b822-5808962dcca8" providerId="ADAL" clId="{5F9A5095-15C7-4BF8-A3D7-9D6D94260068}" dt="2024-03-25T14:32:37.392" v="19" actId="20577"/>
          <ac:graphicFrameMkLst>
            <pc:docMk/>
            <pc:sldMk cId="3009587968" sldId="268"/>
            <ac:graphicFrameMk id="11" creationId="{29D13C8E-8DED-44C4-E9EA-CA8A2E541890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39:49.824" v="312" actId="20577"/>
        <pc:sldMkLst>
          <pc:docMk/>
          <pc:sldMk cId="2177728087" sldId="272"/>
        </pc:sldMkLst>
        <pc:spChg chg="mod">
          <ac:chgData name="Shelley Earl" userId="4951d46f-b647-4b3c-b822-5808962dcca8" providerId="ADAL" clId="{5F9A5095-15C7-4BF8-A3D7-9D6D94260068}" dt="2024-03-25T14:39:49.824" v="312" actId="20577"/>
          <ac:spMkLst>
            <pc:docMk/>
            <pc:sldMk cId="2177728087" sldId="272"/>
            <ac:spMk id="8" creationId="{F639AE83-D0E3-35F9-4EDD-3B02A67DEA40}"/>
          </ac:spMkLst>
        </pc:spChg>
      </pc:sldChg>
      <pc:sldChg chg="modSp mod">
        <pc:chgData name="Shelley Earl" userId="4951d46f-b647-4b3c-b822-5808962dcca8" providerId="ADAL" clId="{5F9A5095-15C7-4BF8-A3D7-9D6D94260068}" dt="2024-03-25T14:35:34.842" v="127" actId="6549"/>
        <pc:sldMkLst>
          <pc:docMk/>
          <pc:sldMk cId="832071717" sldId="273"/>
        </pc:sldMkLst>
        <pc:spChg chg="mod">
          <ac:chgData name="Shelley Earl" userId="4951d46f-b647-4b3c-b822-5808962dcca8" providerId="ADAL" clId="{5F9A5095-15C7-4BF8-A3D7-9D6D94260068}" dt="2024-03-25T14:35:34.842" v="127" actId="6549"/>
          <ac:spMkLst>
            <pc:docMk/>
            <pc:sldMk cId="832071717" sldId="273"/>
            <ac:spMk id="8" creationId="{150F00E2-00FB-9955-A67E-6B6D62965415}"/>
          </ac:spMkLst>
        </pc:spChg>
      </pc:sldChg>
      <pc:sldChg chg="modSp mod">
        <pc:chgData name="Shelley Earl" userId="4951d46f-b647-4b3c-b822-5808962dcca8" providerId="ADAL" clId="{5F9A5095-15C7-4BF8-A3D7-9D6D94260068}" dt="2024-03-25T14:37:15.329" v="155" actId="20577"/>
        <pc:sldMkLst>
          <pc:docMk/>
          <pc:sldMk cId="3481431200" sldId="274"/>
        </pc:sldMkLst>
        <pc:spChg chg="mod">
          <ac:chgData name="Shelley Earl" userId="4951d46f-b647-4b3c-b822-5808962dcca8" providerId="ADAL" clId="{5F9A5095-15C7-4BF8-A3D7-9D6D94260068}" dt="2024-03-25T14:37:15.329" v="155" actId="20577"/>
          <ac:spMkLst>
            <pc:docMk/>
            <pc:sldMk cId="3481431200" sldId="274"/>
            <ac:spMk id="15" creationId="{A57ADB30-AA57-FF7E-1163-C8F0957A0B76}"/>
          </ac:spMkLst>
        </pc:spChg>
        <pc:graphicFrameChg chg="mod">
          <ac:chgData name="Shelley Earl" userId="4951d46f-b647-4b3c-b822-5808962dcca8" providerId="ADAL" clId="{5F9A5095-15C7-4BF8-A3D7-9D6D94260068}" dt="2024-03-25T14:36:32.112" v="142" actId="20577"/>
          <ac:graphicFrameMkLst>
            <pc:docMk/>
            <pc:sldMk cId="3481431200" sldId="274"/>
            <ac:graphicFrameMk id="11" creationId="{5C8EE2C3-03A6-ABAF-3E18-D116DCC72FC4}"/>
          </ac:graphicFrameMkLst>
        </pc:graphicFrameChg>
      </pc:sldChg>
      <pc:sldChg chg="modSp">
        <pc:chgData name="Shelley Earl" userId="4951d46f-b647-4b3c-b822-5808962dcca8" providerId="ADAL" clId="{5F9A5095-15C7-4BF8-A3D7-9D6D94260068}" dt="2024-03-25T14:39:19.046" v="306" actId="115"/>
        <pc:sldMkLst>
          <pc:docMk/>
          <pc:sldMk cId="829028075" sldId="275"/>
        </pc:sldMkLst>
        <pc:graphicFrameChg chg="mod">
          <ac:chgData name="Shelley Earl" userId="4951d46f-b647-4b3c-b822-5808962dcca8" providerId="ADAL" clId="{5F9A5095-15C7-4BF8-A3D7-9D6D94260068}" dt="2024-03-25T14:39:19.046" v="306" actId="115"/>
          <ac:graphicFrameMkLst>
            <pc:docMk/>
            <pc:sldMk cId="829028075" sldId="275"/>
            <ac:graphicFrameMk id="13" creationId="{A605F809-B93D-1529-EAB4-05210895DD47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39:41.444" v="310" actId="20577"/>
        <pc:sldMkLst>
          <pc:docMk/>
          <pc:sldMk cId="639071407" sldId="276"/>
        </pc:sldMkLst>
        <pc:spChg chg="mod">
          <ac:chgData name="Shelley Earl" userId="4951d46f-b647-4b3c-b822-5808962dcca8" providerId="ADAL" clId="{5F9A5095-15C7-4BF8-A3D7-9D6D94260068}" dt="2024-03-25T14:39:41.444" v="310" actId="20577"/>
          <ac:spMkLst>
            <pc:docMk/>
            <pc:sldMk cId="639071407" sldId="276"/>
            <ac:spMk id="3" creationId="{D9823FF2-551E-7D6F-6CCD-EA59870F378E}"/>
          </ac:spMkLst>
        </pc:spChg>
      </pc:sldChg>
      <pc:sldChg chg="modSp mod">
        <pc:chgData name="Shelley Earl" userId="4951d46f-b647-4b3c-b822-5808962dcca8" providerId="ADAL" clId="{5F9A5095-15C7-4BF8-A3D7-9D6D94260068}" dt="2024-03-25T14:40:58.944" v="318" actId="6549"/>
        <pc:sldMkLst>
          <pc:docMk/>
          <pc:sldMk cId="4165849477" sldId="277"/>
        </pc:sldMkLst>
        <pc:spChg chg="mod">
          <ac:chgData name="Shelley Earl" userId="4951d46f-b647-4b3c-b822-5808962dcca8" providerId="ADAL" clId="{5F9A5095-15C7-4BF8-A3D7-9D6D94260068}" dt="2024-03-25T14:40:58.944" v="318" actId="6549"/>
          <ac:spMkLst>
            <pc:docMk/>
            <pc:sldMk cId="4165849477" sldId="277"/>
            <ac:spMk id="3" creationId="{800FB85F-FAA5-6EF4-2934-3E9F00A24524}"/>
          </ac:spMkLst>
        </pc:spChg>
      </pc:sldChg>
      <pc:sldChg chg="modSp mod">
        <pc:chgData name="Shelley Earl" userId="4951d46f-b647-4b3c-b822-5808962dcca8" providerId="ADAL" clId="{5F9A5095-15C7-4BF8-A3D7-9D6D94260068}" dt="2024-03-25T14:43:50.620" v="320" actId="1076"/>
        <pc:sldMkLst>
          <pc:docMk/>
          <pc:sldMk cId="969127443" sldId="278"/>
        </pc:sldMkLst>
        <pc:spChg chg="mod">
          <ac:chgData name="Shelley Earl" userId="4951d46f-b647-4b3c-b822-5808962dcca8" providerId="ADAL" clId="{5F9A5095-15C7-4BF8-A3D7-9D6D94260068}" dt="2024-03-25T14:43:50.620" v="320" actId="1076"/>
          <ac:spMkLst>
            <pc:docMk/>
            <pc:sldMk cId="969127443" sldId="278"/>
            <ac:spMk id="9" creationId="{72F99416-9CFC-4A6D-56C2-F38A9754D7B6}"/>
          </ac:spMkLst>
        </pc:spChg>
        <pc:graphicFrameChg chg="mod">
          <ac:chgData name="Shelley Earl" userId="4951d46f-b647-4b3c-b822-5808962dcca8" providerId="ADAL" clId="{5F9A5095-15C7-4BF8-A3D7-9D6D94260068}" dt="2024-03-25T14:42:49.488" v="319" actId="20577"/>
          <ac:graphicFrameMkLst>
            <pc:docMk/>
            <pc:sldMk cId="969127443" sldId="278"/>
            <ac:graphicFrameMk id="8" creationId="{25435880-DE83-4AE6-0C0C-E8BEDD12548D}"/>
          </ac:graphicFrameMkLst>
        </pc:graphicFrameChg>
      </pc:sldChg>
      <pc:sldChg chg="modSp">
        <pc:chgData name="Shelley Earl" userId="4951d46f-b647-4b3c-b822-5808962dcca8" providerId="ADAL" clId="{5F9A5095-15C7-4BF8-A3D7-9D6D94260068}" dt="2024-03-25T14:49:50.648" v="536" actId="20577"/>
        <pc:sldMkLst>
          <pc:docMk/>
          <pc:sldMk cId="4199026466" sldId="279"/>
        </pc:sldMkLst>
        <pc:spChg chg="mod">
          <ac:chgData name="Shelley Earl" userId="4951d46f-b647-4b3c-b822-5808962dcca8" providerId="ADAL" clId="{5F9A5095-15C7-4BF8-A3D7-9D6D94260068}" dt="2024-03-25T14:49:50.648" v="536" actId="20577"/>
          <ac:spMkLst>
            <pc:docMk/>
            <pc:sldMk cId="4199026466" sldId="279"/>
            <ac:spMk id="3" creationId="{7A675047-B99C-FF66-70F8-F831DAF17610}"/>
          </ac:spMkLst>
        </pc:spChg>
      </pc:sldChg>
      <pc:sldChg chg="modSp">
        <pc:chgData name="Shelley Earl" userId="4951d46f-b647-4b3c-b822-5808962dcca8" providerId="ADAL" clId="{5F9A5095-15C7-4BF8-A3D7-9D6D94260068}" dt="2024-03-25T14:51:44.613" v="544"/>
        <pc:sldMkLst>
          <pc:docMk/>
          <pc:sldMk cId="1794826995" sldId="280"/>
        </pc:sldMkLst>
        <pc:graphicFrameChg chg="mod">
          <ac:chgData name="Shelley Earl" userId="4951d46f-b647-4b3c-b822-5808962dcca8" providerId="ADAL" clId="{5F9A5095-15C7-4BF8-A3D7-9D6D94260068}" dt="2024-03-25T14:51:44.613" v="544"/>
          <ac:graphicFrameMkLst>
            <pc:docMk/>
            <pc:sldMk cId="1794826995" sldId="280"/>
            <ac:graphicFrameMk id="4" creationId="{F066EC6C-DCB6-3357-ABD4-0298BB5F32F6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52:39.794" v="548" actId="6549"/>
        <pc:sldMkLst>
          <pc:docMk/>
          <pc:sldMk cId="981669481" sldId="282"/>
        </pc:sldMkLst>
        <pc:spChg chg="mod">
          <ac:chgData name="Shelley Earl" userId="4951d46f-b647-4b3c-b822-5808962dcca8" providerId="ADAL" clId="{5F9A5095-15C7-4BF8-A3D7-9D6D94260068}" dt="2024-03-25T14:52:39.794" v="548" actId="6549"/>
          <ac:spMkLst>
            <pc:docMk/>
            <pc:sldMk cId="981669481" sldId="282"/>
            <ac:spMk id="3" creationId="{1C66F432-C4F6-FCEE-F1EB-C13A0EC3264F}"/>
          </ac:spMkLst>
        </pc:spChg>
      </pc:sldChg>
      <pc:sldChg chg="modSp mod">
        <pc:chgData name="Shelley Earl" userId="4951d46f-b647-4b3c-b822-5808962dcca8" providerId="ADAL" clId="{5F9A5095-15C7-4BF8-A3D7-9D6D94260068}" dt="2024-03-25T14:54:22.122" v="607" actId="20577"/>
        <pc:sldMkLst>
          <pc:docMk/>
          <pc:sldMk cId="1411236543" sldId="283"/>
        </pc:sldMkLst>
        <pc:spChg chg="mod">
          <ac:chgData name="Shelley Earl" userId="4951d46f-b647-4b3c-b822-5808962dcca8" providerId="ADAL" clId="{5F9A5095-15C7-4BF8-A3D7-9D6D94260068}" dt="2024-03-25T14:54:22.122" v="607" actId="20577"/>
          <ac:spMkLst>
            <pc:docMk/>
            <pc:sldMk cId="1411236543" sldId="283"/>
            <ac:spMk id="9" creationId="{87FEABC1-0E2B-CA86-F809-3DA3A9B36182}"/>
          </ac:spMkLst>
        </pc:spChg>
      </pc:sldChg>
      <pc:sldChg chg="delSp modSp mod ord delAnim">
        <pc:chgData name="Shelley Earl" userId="4951d46f-b647-4b3c-b822-5808962dcca8" providerId="ADAL" clId="{5F9A5095-15C7-4BF8-A3D7-9D6D94260068}" dt="2024-03-25T15:03:37.909" v="696"/>
        <pc:sldMkLst>
          <pc:docMk/>
          <pc:sldMk cId="30537229" sldId="284"/>
        </pc:sldMkLst>
        <pc:spChg chg="mod">
          <ac:chgData name="Shelley Earl" userId="4951d46f-b647-4b3c-b822-5808962dcca8" providerId="ADAL" clId="{5F9A5095-15C7-4BF8-A3D7-9D6D94260068}" dt="2024-03-25T14:56:02.207" v="623" actId="20577"/>
          <ac:spMkLst>
            <pc:docMk/>
            <pc:sldMk cId="30537229" sldId="284"/>
            <ac:spMk id="2" creationId="{4BE1F89A-BFF8-A65E-BF48-AEE160C282E6}"/>
          </ac:spMkLst>
        </pc:spChg>
        <pc:spChg chg="mod">
          <ac:chgData name="Shelley Earl" userId="4951d46f-b647-4b3c-b822-5808962dcca8" providerId="ADAL" clId="{5F9A5095-15C7-4BF8-A3D7-9D6D94260068}" dt="2024-03-25T15:03:17.553" v="693" actId="6549"/>
          <ac:spMkLst>
            <pc:docMk/>
            <pc:sldMk cId="30537229" sldId="284"/>
            <ac:spMk id="3" creationId="{EE3BD1DC-4EC2-EFA1-8D3E-8824C4794976}"/>
          </ac:spMkLst>
        </pc:spChg>
        <pc:spChg chg="del">
          <ac:chgData name="Shelley Earl" userId="4951d46f-b647-4b3c-b822-5808962dcca8" providerId="ADAL" clId="{5F9A5095-15C7-4BF8-A3D7-9D6D94260068}" dt="2024-03-25T14:57:04.135" v="634" actId="478"/>
          <ac:spMkLst>
            <pc:docMk/>
            <pc:sldMk cId="30537229" sldId="284"/>
            <ac:spMk id="14" creationId="{321EC7B0-8C11-0E94-9273-7579EDAB8D65}"/>
          </ac:spMkLst>
        </pc:spChg>
        <pc:graphicFrameChg chg="mod">
          <ac:chgData name="Shelley Earl" userId="4951d46f-b647-4b3c-b822-5808962dcca8" providerId="ADAL" clId="{5F9A5095-15C7-4BF8-A3D7-9D6D94260068}" dt="2024-03-25T15:03:23.413" v="694" actId="1076"/>
          <ac:graphicFrameMkLst>
            <pc:docMk/>
            <pc:sldMk cId="30537229" sldId="284"/>
            <ac:graphicFrameMk id="4" creationId="{B3FD9947-2372-778F-84F0-D2FAEFF1D8DE}"/>
          </ac:graphicFrameMkLst>
        </pc:graphicFrameChg>
      </pc:sldChg>
      <pc:sldChg chg="modSp mod modAnim">
        <pc:chgData name="Shelley Earl" userId="4951d46f-b647-4b3c-b822-5808962dcca8" providerId="ADAL" clId="{5F9A5095-15C7-4BF8-A3D7-9D6D94260068}" dt="2024-03-25T15:01:31.443" v="680"/>
        <pc:sldMkLst>
          <pc:docMk/>
          <pc:sldMk cId="4282014508" sldId="285"/>
        </pc:sldMkLst>
        <pc:spChg chg="mod">
          <ac:chgData name="Shelley Earl" userId="4951d46f-b647-4b3c-b822-5808962dcca8" providerId="ADAL" clId="{5F9A5095-15C7-4BF8-A3D7-9D6D94260068}" dt="2024-03-25T14:59:09.152" v="644" actId="20577"/>
          <ac:spMkLst>
            <pc:docMk/>
            <pc:sldMk cId="4282014508" sldId="285"/>
            <ac:spMk id="8" creationId="{94E63CD8-53B4-AF1A-FBA4-05945FE997A1}"/>
          </ac:spMkLst>
        </pc:spChg>
        <pc:spChg chg="mod">
          <ac:chgData name="Shelley Earl" userId="4951d46f-b647-4b3c-b822-5808962dcca8" providerId="ADAL" clId="{5F9A5095-15C7-4BF8-A3D7-9D6D94260068}" dt="2024-03-25T15:01:14.846" v="679" actId="6549"/>
          <ac:spMkLst>
            <pc:docMk/>
            <pc:sldMk cId="4282014508" sldId="285"/>
            <ac:spMk id="9" creationId="{F525208C-D97C-1080-772A-E506B67C4128}"/>
          </ac:spMkLst>
        </pc:spChg>
      </pc:sldChg>
      <pc:sldChg chg="delSp modSp mod">
        <pc:chgData name="Shelley Earl" userId="4951d46f-b647-4b3c-b822-5808962dcca8" providerId="ADAL" clId="{5F9A5095-15C7-4BF8-A3D7-9D6D94260068}" dt="2024-03-25T15:02:40.717" v="692" actId="20577"/>
        <pc:sldMkLst>
          <pc:docMk/>
          <pc:sldMk cId="191158308" sldId="286"/>
        </pc:sldMkLst>
        <pc:spChg chg="mod">
          <ac:chgData name="Shelley Earl" userId="4951d46f-b647-4b3c-b822-5808962dcca8" providerId="ADAL" clId="{5F9A5095-15C7-4BF8-A3D7-9D6D94260068}" dt="2024-03-25T15:01:50.720" v="681" actId="20577"/>
          <ac:spMkLst>
            <pc:docMk/>
            <pc:sldMk cId="191158308" sldId="286"/>
            <ac:spMk id="2" creationId="{CEED5DCA-792C-6FB9-BAC9-D3F76F7F9593}"/>
          </ac:spMkLst>
        </pc:spChg>
        <pc:spChg chg="del">
          <ac:chgData name="Shelley Earl" userId="4951d46f-b647-4b3c-b822-5808962dcca8" providerId="ADAL" clId="{5F9A5095-15C7-4BF8-A3D7-9D6D94260068}" dt="2024-03-25T15:02:19.422" v="691" actId="478"/>
          <ac:spMkLst>
            <pc:docMk/>
            <pc:sldMk cId="191158308" sldId="286"/>
            <ac:spMk id="17" creationId="{BC8B5FDD-0F69-C5BD-08B5-438B99EB2666}"/>
          </ac:spMkLst>
        </pc:spChg>
        <pc:graphicFrameChg chg="mod">
          <ac:chgData name="Shelley Earl" userId="4951d46f-b647-4b3c-b822-5808962dcca8" providerId="ADAL" clId="{5F9A5095-15C7-4BF8-A3D7-9D6D94260068}" dt="2024-03-25T15:02:40.717" v="692" actId="20577"/>
          <ac:graphicFrameMkLst>
            <pc:docMk/>
            <pc:sldMk cId="191158308" sldId="286"/>
            <ac:graphicFrameMk id="18" creationId="{F2583A9D-281C-4C52-9347-26153EBC053D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5:04:55.916" v="736" actId="20577"/>
        <pc:sldMkLst>
          <pc:docMk/>
          <pc:sldMk cId="561251587" sldId="287"/>
        </pc:sldMkLst>
        <pc:spChg chg="mod">
          <ac:chgData name="Shelley Earl" userId="4951d46f-b647-4b3c-b822-5808962dcca8" providerId="ADAL" clId="{5F9A5095-15C7-4BF8-A3D7-9D6D94260068}" dt="2024-03-25T15:04:55.916" v="736" actId="20577"/>
          <ac:spMkLst>
            <pc:docMk/>
            <pc:sldMk cId="561251587" sldId="287"/>
            <ac:spMk id="14" creationId="{A1FFE694-DF65-A7CA-A6CD-EE2D7965DCCB}"/>
          </ac:spMkLst>
        </pc:spChg>
      </pc:sldChg>
      <pc:sldChg chg="del">
        <pc:chgData name="Shelley Earl" userId="4951d46f-b647-4b3c-b822-5808962dcca8" providerId="ADAL" clId="{5F9A5095-15C7-4BF8-A3D7-9D6D94260068}" dt="2024-03-25T15:05:59.632" v="737" actId="47"/>
        <pc:sldMkLst>
          <pc:docMk/>
          <pc:sldMk cId="2347924938" sldId="289"/>
        </pc:sldMkLst>
      </pc:sldChg>
      <pc:sldChg chg="addSp delSp modSp mod">
        <pc:chgData name="Shelley Earl" userId="4951d46f-b647-4b3c-b822-5808962dcca8" providerId="ADAL" clId="{5F9A5095-15C7-4BF8-A3D7-9D6D94260068}" dt="2024-03-25T15:14:55.107" v="1077" actId="1076"/>
        <pc:sldMkLst>
          <pc:docMk/>
          <pc:sldMk cId="3114590533" sldId="290"/>
        </pc:sldMkLst>
        <pc:spChg chg="mod">
          <ac:chgData name="Shelley Earl" userId="4951d46f-b647-4b3c-b822-5808962dcca8" providerId="ADAL" clId="{5F9A5095-15C7-4BF8-A3D7-9D6D94260068}" dt="2024-03-25T15:13:03.647" v="915" actId="20577"/>
          <ac:spMkLst>
            <pc:docMk/>
            <pc:sldMk cId="3114590533" sldId="290"/>
            <ac:spMk id="2" creationId="{9D6A7B45-5B3C-3DB0-1BE4-A2E8E5DFB955}"/>
          </ac:spMkLst>
        </pc:spChg>
        <pc:spChg chg="add mod">
          <ac:chgData name="Shelley Earl" userId="4951d46f-b647-4b3c-b822-5808962dcca8" providerId="ADAL" clId="{5F9A5095-15C7-4BF8-A3D7-9D6D94260068}" dt="2024-03-25T15:14:48.487" v="1075" actId="1076"/>
          <ac:spMkLst>
            <pc:docMk/>
            <pc:sldMk cId="3114590533" sldId="290"/>
            <ac:spMk id="3" creationId="{698B0EE6-D2E3-A34A-D0E6-B7CFF8ADAFCF}"/>
          </ac:spMkLst>
        </pc:spChg>
        <pc:spChg chg="del">
          <ac:chgData name="Shelley Earl" userId="4951d46f-b647-4b3c-b822-5808962dcca8" providerId="ADAL" clId="{5F9A5095-15C7-4BF8-A3D7-9D6D94260068}" dt="2024-03-25T15:14:52.349" v="1076" actId="478"/>
          <ac:spMkLst>
            <pc:docMk/>
            <pc:sldMk cId="3114590533" sldId="290"/>
            <ac:spMk id="11" creationId="{F1E7C49D-168F-967C-A68B-1627AE233196}"/>
          </ac:spMkLst>
        </pc:spChg>
        <pc:graphicFrameChg chg="mod">
          <ac:chgData name="Shelley Earl" userId="4951d46f-b647-4b3c-b822-5808962dcca8" providerId="ADAL" clId="{5F9A5095-15C7-4BF8-A3D7-9D6D94260068}" dt="2024-03-25T15:14:55.107" v="1077" actId="1076"/>
          <ac:graphicFrameMkLst>
            <pc:docMk/>
            <pc:sldMk cId="3114590533" sldId="290"/>
            <ac:graphicFrameMk id="8" creationId="{A78DC15E-F928-C464-FBA0-36933CA4DB49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5:15:31.877" v="1111" actId="20577"/>
        <pc:sldMkLst>
          <pc:docMk/>
          <pc:sldMk cId="894928972" sldId="291"/>
        </pc:sldMkLst>
        <pc:spChg chg="mod">
          <ac:chgData name="Shelley Earl" userId="4951d46f-b647-4b3c-b822-5808962dcca8" providerId="ADAL" clId="{5F9A5095-15C7-4BF8-A3D7-9D6D94260068}" dt="2024-03-25T15:15:31.877" v="1111" actId="20577"/>
          <ac:spMkLst>
            <pc:docMk/>
            <pc:sldMk cId="894928972" sldId="291"/>
            <ac:spMk id="3" creationId="{D6504A50-C316-495F-A22D-CFF6B8954D8D}"/>
          </ac:spMkLst>
        </pc:spChg>
      </pc:sldChg>
      <pc:sldChg chg="modSp mod">
        <pc:chgData name="Shelley Earl" userId="4951d46f-b647-4b3c-b822-5808962dcca8" providerId="ADAL" clId="{5F9A5095-15C7-4BF8-A3D7-9D6D94260068}" dt="2024-03-25T15:16:15.672" v="1140" actId="6549"/>
        <pc:sldMkLst>
          <pc:docMk/>
          <pc:sldMk cId="3790215164" sldId="293"/>
        </pc:sldMkLst>
        <pc:spChg chg="mod">
          <ac:chgData name="Shelley Earl" userId="4951d46f-b647-4b3c-b822-5808962dcca8" providerId="ADAL" clId="{5F9A5095-15C7-4BF8-A3D7-9D6D94260068}" dt="2024-03-25T15:16:15.672" v="1140" actId="6549"/>
          <ac:spMkLst>
            <pc:docMk/>
            <pc:sldMk cId="3790215164" sldId="293"/>
            <ac:spMk id="3" creationId="{2A8CED9B-3AA4-6657-52D7-A3AE595B4F07}"/>
          </ac:spMkLst>
        </pc:spChg>
      </pc:sldChg>
      <pc:sldChg chg="del">
        <pc:chgData name="Shelley Earl" userId="4951d46f-b647-4b3c-b822-5808962dcca8" providerId="ADAL" clId="{5F9A5095-15C7-4BF8-A3D7-9D6D94260068}" dt="2024-03-25T15:16:22.607" v="1141" actId="47"/>
        <pc:sldMkLst>
          <pc:docMk/>
          <pc:sldMk cId="1834208117" sldId="3126"/>
        </pc:sldMkLst>
      </pc:sldChg>
      <pc:sldChg chg="addSp delSp modSp new mod">
        <pc:chgData name="Shelley Earl" userId="4951d46f-b647-4b3c-b822-5808962dcca8" providerId="ADAL" clId="{5F9A5095-15C7-4BF8-A3D7-9D6D94260068}" dt="2024-03-25T15:12:28.427" v="901" actId="255"/>
        <pc:sldMkLst>
          <pc:docMk/>
          <pc:sldMk cId="3534279248" sldId="3127"/>
        </pc:sldMkLst>
        <pc:spChg chg="mod">
          <ac:chgData name="Shelley Earl" userId="4951d46f-b647-4b3c-b822-5808962dcca8" providerId="ADAL" clId="{5F9A5095-15C7-4BF8-A3D7-9D6D94260068}" dt="2024-03-25T15:08:42.113" v="772" actId="26606"/>
          <ac:spMkLst>
            <pc:docMk/>
            <pc:sldMk cId="3534279248" sldId="3127"/>
            <ac:spMk id="2" creationId="{73CB6B62-796B-C1D4-4763-5A20739A7519}"/>
          </ac:spMkLst>
        </pc:spChg>
        <pc:spChg chg="del">
          <ac:chgData name="Shelley Earl" userId="4951d46f-b647-4b3c-b822-5808962dcca8" providerId="ADAL" clId="{5F9A5095-15C7-4BF8-A3D7-9D6D94260068}" dt="2024-03-25T15:08:42.113" v="772" actId="26606"/>
          <ac:spMkLst>
            <pc:docMk/>
            <pc:sldMk cId="3534279248" sldId="3127"/>
            <ac:spMk id="3" creationId="{BAE13260-81AC-2050-58FE-5B34388EE05B}"/>
          </ac:spMkLst>
        </pc:spChg>
        <pc:spChg chg="del">
          <ac:chgData name="Shelley Earl" userId="4951d46f-b647-4b3c-b822-5808962dcca8" providerId="ADAL" clId="{5F9A5095-15C7-4BF8-A3D7-9D6D94260068}" dt="2024-03-25T15:08:26.438" v="771" actId="22"/>
          <ac:spMkLst>
            <pc:docMk/>
            <pc:sldMk cId="3534279248" sldId="3127"/>
            <ac:spMk id="4" creationId="{4BC82226-280B-AEB8-5190-C1A2D1758C9C}"/>
          </ac:spMkLst>
        </pc:spChg>
        <pc:spChg chg="add mod">
          <ac:chgData name="Shelley Earl" userId="4951d46f-b647-4b3c-b822-5808962dcca8" providerId="ADAL" clId="{5F9A5095-15C7-4BF8-A3D7-9D6D94260068}" dt="2024-03-25T15:12:28.427" v="901" actId="255"/>
          <ac:spMkLst>
            <pc:docMk/>
            <pc:sldMk cId="3534279248" sldId="3127"/>
            <ac:spMk id="11" creationId="{6C1BA9E3-9396-DBB5-8249-DC0FDEC133B2}"/>
          </ac:spMkLst>
        </pc:spChg>
        <pc:picChg chg="add mod ord">
          <ac:chgData name="Shelley Earl" userId="4951d46f-b647-4b3c-b822-5808962dcca8" providerId="ADAL" clId="{5F9A5095-15C7-4BF8-A3D7-9D6D94260068}" dt="2024-03-25T15:08:43.556" v="773" actId="27614"/>
          <ac:picMkLst>
            <pc:docMk/>
            <pc:sldMk cId="3534279248" sldId="3127"/>
            <ac:picMk id="6" creationId="{486A5F75-0C93-46BB-29E1-EEFA342C3D92}"/>
          </ac:picMkLst>
        </pc:picChg>
      </pc:sldChg>
    </pc:docChg>
  </pc:docChgLst>
  <pc:docChgLst>
    <pc:chgData name="Shelley Earl" userId="4951d46f-b647-4b3c-b822-5808962dcca8" providerId="ADAL" clId="{758B6FCB-C370-4F38-BB00-478B3AE7AF59}"/>
    <pc:docChg chg="modSld">
      <pc:chgData name="Shelley Earl" userId="4951d46f-b647-4b3c-b822-5808962dcca8" providerId="ADAL" clId="{758B6FCB-C370-4F38-BB00-478B3AE7AF59}" dt="2024-03-25T18:44:22.049" v="20"/>
      <pc:docMkLst>
        <pc:docMk/>
      </pc:docMkLst>
      <pc:sldChg chg="modSp mod">
        <pc:chgData name="Shelley Earl" userId="4951d46f-b647-4b3c-b822-5808962dcca8" providerId="ADAL" clId="{758B6FCB-C370-4F38-BB00-478B3AE7AF59}" dt="2024-03-25T18:42:29.519" v="0" actId="1076"/>
        <pc:sldMkLst>
          <pc:docMk/>
          <pc:sldMk cId="2097898915" sldId="264"/>
        </pc:sldMkLst>
        <pc:spChg chg="mod">
          <ac:chgData name="Shelley Earl" userId="4951d46f-b647-4b3c-b822-5808962dcca8" providerId="ADAL" clId="{758B6FCB-C370-4F38-BB00-478B3AE7AF59}" dt="2024-03-25T18:42:29.519" v="0" actId="1076"/>
          <ac:spMkLst>
            <pc:docMk/>
            <pc:sldMk cId="2097898915" sldId="264"/>
            <ac:spMk id="8" creationId="{87671493-6848-DBAF-4C09-CA1EE485840B}"/>
          </ac:spMkLst>
        </pc:spChg>
      </pc:sldChg>
      <pc:sldChg chg="modSp mod">
        <pc:chgData name="Shelley Earl" userId="4951d46f-b647-4b3c-b822-5808962dcca8" providerId="ADAL" clId="{758B6FCB-C370-4F38-BB00-478B3AE7AF59}" dt="2024-03-25T18:43:08.752" v="11" actId="255"/>
        <pc:sldMkLst>
          <pc:docMk/>
          <pc:sldMk cId="3481431200" sldId="274"/>
        </pc:sldMkLst>
        <pc:spChg chg="mod">
          <ac:chgData name="Shelley Earl" userId="4951d46f-b647-4b3c-b822-5808962dcca8" providerId="ADAL" clId="{758B6FCB-C370-4F38-BB00-478B3AE7AF59}" dt="2024-03-25T18:42:42.333" v="2" actId="1076"/>
          <ac:spMkLst>
            <pc:docMk/>
            <pc:sldMk cId="3481431200" sldId="274"/>
            <ac:spMk id="10" creationId="{4973049F-7464-8CEC-6A0C-5251C1FF3DEA}"/>
          </ac:spMkLst>
        </pc:spChg>
        <pc:spChg chg="mod">
          <ac:chgData name="Shelley Earl" userId="4951d46f-b647-4b3c-b822-5808962dcca8" providerId="ADAL" clId="{758B6FCB-C370-4F38-BB00-478B3AE7AF59}" dt="2024-03-25T18:42:45.856" v="3" actId="1076"/>
          <ac:spMkLst>
            <pc:docMk/>
            <pc:sldMk cId="3481431200" sldId="274"/>
            <ac:spMk id="12" creationId="{FC81ACA9-37AB-3848-2CFF-062B6FE76A28}"/>
          </ac:spMkLst>
        </pc:spChg>
        <pc:spChg chg="mod">
          <ac:chgData name="Shelley Earl" userId="4951d46f-b647-4b3c-b822-5808962dcca8" providerId="ADAL" clId="{758B6FCB-C370-4F38-BB00-478B3AE7AF59}" dt="2024-03-25T18:42:48.769" v="4" actId="1076"/>
          <ac:spMkLst>
            <pc:docMk/>
            <pc:sldMk cId="3481431200" sldId="274"/>
            <ac:spMk id="13" creationId="{1A002978-A98E-CB9D-6EC7-7BD47016C50B}"/>
          </ac:spMkLst>
        </pc:spChg>
        <pc:graphicFrameChg chg="mod">
          <ac:chgData name="Shelley Earl" userId="4951d46f-b647-4b3c-b822-5808962dcca8" providerId="ADAL" clId="{758B6FCB-C370-4F38-BB00-478B3AE7AF59}" dt="2024-03-25T18:43:08.752" v="11" actId="255"/>
          <ac:graphicFrameMkLst>
            <pc:docMk/>
            <pc:sldMk cId="3481431200" sldId="274"/>
            <ac:graphicFrameMk id="11" creationId="{5C8EE2C3-03A6-ABAF-3E18-D116DCC72FC4}"/>
          </ac:graphicFrameMkLst>
        </pc:graphicFrameChg>
      </pc:sldChg>
      <pc:sldChg chg="modSp">
        <pc:chgData name="Shelley Earl" userId="4951d46f-b647-4b3c-b822-5808962dcca8" providerId="ADAL" clId="{758B6FCB-C370-4F38-BB00-478B3AE7AF59}" dt="2024-03-25T18:43:30.413" v="14"/>
        <pc:sldMkLst>
          <pc:docMk/>
          <pc:sldMk cId="829028075" sldId="275"/>
        </pc:sldMkLst>
        <pc:graphicFrameChg chg="mod">
          <ac:chgData name="Shelley Earl" userId="4951d46f-b647-4b3c-b822-5808962dcca8" providerId="ADAL" clId="{758B6FCB-C370-4F38-BB00-478B3AE7AF59}" dt="2024-03-25T18:43:30.413" v="14"/>
          <ac:graphicFrameMkLst>
            <pc:docMk/>
            <pc:sldMk cId="829028075" sldId="275"/>
            <ac:graphicFrameMk id="13" creationId="{A605F809-B93D-1529-EAB4-05210895DD47}"/>
          </ac:graphicFrameMkLst>
        </pc:graphicFrameChg>
      </pc:sldChg>
      <pc:sldChg chg="modSp">
        <pc:chgData name="Shelley Earl" userId="4951d46f-b647-4b3c-b822-5808962dcca8" providerId="ADAL" clId="{758B6FCB-C370-4F38-BB00-478B3AE7AF59}" dt="2024-03-25T18:43:44.239" v="15" actId="255"/>
        <pc:sldMkLst>
          <pc:docMk/>
          <pc:sldMk cId="969127443" sldId="278"/>
        </pc:sldMkLst>
        <pc:graphicFrameChg chg="mod">
          <ac:chgData name="Shelley Earl" userId="4951d46f-b647-4b3c-b822-5808962dcca8" providerId="ADAL" clId="{758B6FCB-C370-4F38-BB00-478B3AE7AF59}" dt="2024-03-25T18:43:44.239" v="15" actId="255"/>
          <ac:graphicFrameMkLst>
            <pc:docMk/>
            <pc:sldMk cId="969127443" sldId="278"/>
            <ac:graphicFrameMk id="8" creationId="{25435880-DE83-4AE6-0C0C-E8BEDD12548D}"/>
          </ac:graphicFrameMkLst>
        </pc:graphicFrameChg>
      </pc:sldChg>
      <pc:sldChg chg="modSp mod">
        <pc:chgData name="Shelley Earl" userId="4951d46f-b647-4b3c-b822-5808962dcca8" providerId="ADAL" clId="{758B6FCB-C370-4F38-BB00-478B3AE7AF59}" dt="2024-03-25T18:44:03.598" v="19" actId="1076"/>
        <pc:sldMkLst>
          <pc:docMk/>
          <pc:sldMk cId="1794826995" sldId="280"/>
        </pc:sldMkLst>
        <pc:spChg chg="mod">
          <ac:chgData name="Shelley Earl" userId="4951d46f-b647-4b3c-b822-5808962dcca8" providerId="ADAL" clId="{758B6FCB-C370-4F38-BB00-478B3AE7AF59}" dt="2024-03-25T18:44:03.598" v="19" actId="1076"/>
          <ac:spMkLst>
            <pc:docMk/>
            <pc:sldMk cId="1794826995" sldId="280"/>
            <ac:spMk id="3" creationId="{47710745-2062-F17B-E90E-EA2A4D39D9B6}"/>
          </ac:spMkLst>
        </pc:spChg>
        <pc:graphicFrameChg chg="mod">
          <ac:chgData name="Shelley Earl" userId="4951d46f-b647-4b3c-b822-5808962dcca8" providerId="ADAL" clId="{758B6FCB-C370-4F38-BB00-478B3AE7AF59}" dt="2024-03-25T18:43:58.981" v="18"/>
          <ac:graphicFrameMkLst>
            <pc:docMk/>
            <pc:sldMk cId="1794826995" sldId="280"/>
            <ac:graphicFrameMk id="4" creationId="{F066EC6C-DCB6-3357-ABD4-0298BB5F32F6}"/>
          </ac:graphicFrameMkLst>
        </pc:graphicFrameChg>
      </pc:sldChg>
      <pc:sldChg chg="modSp">
        <pc:chgData name="Shelley Earl" userId="4951d46f-b647-4b3c-b822-5808962dcca8" providerId="ADAL" clId="{758B6FCB-C370-4F38-BB00-478B3AE7AF59}" dt="2024-03-25T18:44:22.049" v="20"/>
        <pc:sldMkLst>
          <pc:docMk/>
          <pc:sldMk cId="3114590533" sldId="290"/>
        </pc:sldMkLst>
        <pc:graphicFrameChg chg="mod">
          <ac:chgData name="Shelley Earl" userId="4951d46f-b647-4b3c-b822-5808962dcca8" providerId="ADAL" clId="{758B6FCB-C370-4F38-BB00-478B3AE7AF59}" dt="2024-03-25T18:44:22.049" v="20"/>
          <ac:graphicFrameMkLst>
            <pc:docMk/>
            <pc:sldMk cId="3114590533" sldId="290"/>
            <ac:graphicFrameMk id="8" creationId="{A78DC15E-F928-C464-FBA0-36933CA4DB49}"/>
          </ac:graphicFrameMkLst>
        </pc:graphicFrame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ata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13.png"/><Relationship Id="rId7" Type="http://schemas.openxmlformats.org/officeDocument/2006/relationships/image" Target="../media/image33.png"/><Relationship Id="rId2" Type="http://schemas.openxmlformats.org/officeDocument/2006/relationships/image" Target="../media/image30.svg"/><Relationship Id="rId1" Type="http://schemas.openxmlformats.org/officeDocument/2006/relationships/image" Target="../media/image29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.svg"/></Relationships>
</file>

<file path=ppt/diagrams/_rels/data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image" Target="../media/image37.svg"/><Relationship Id="rId1" Type="http://schemas.openxmlformats.org/officeDocument/2006/relationships/image" Target="../media/image36.png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diagrams/_rels/data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rawing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13.png"/><Relationship Id="rId7" Type="http://schemas.openxmlformats.org/officeDocument/2006/relationships/image" Target="../media/image33.png"/><Relationship Id="rId2" Type="http://schemas.openxmlformats.org/officeDocument/2006/relationships/image" Target="../media/image30.svg"/><Relationship Id="rId1" Type="http://schemas.openxmlformats.org/officeDocument/2006/relationships/image" Target="../media/image29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.svg"/></Relationships>
</file>

<file path=ppt/diagrams/_rels/drawing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image" Target="../media/image37.svg"/><Relationship Id="rId1" Type="http://schemas.openxmlformats.org/officeDocument/2006/relationships/image" Target="../media/image36.png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diagrams/_rels/drawing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B1D878-DD47-4554-B918-FF8182C854D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4872F20E-C901-4018-94B9-DA055639A969}" type="parTrans" cxnId="{F52AE98F-4440-4CF9-9C3F-7C83C00112F6}">
      <dgm:prSet/>
      <dgm:spPr/>
      <dgm:t>
        <a:bodyPr/>
        <a:lstStyle/>
        <a:p>
          <a:endParaRPr lang="en-US"/>
        </a:p>
      </dgm:t>
    </dgm:pt>
    <dgm:pt modelId="{BD203190-B02D-4833-9639-64C6874E5D6E}">
      <dgm:prSet custT="1"/>
      <dgm:spPr>
        <a:noFill/>
        <a:ln>
          <a:noFill/>
        </a:ln>
      </dgm:spPr>
      <dgm:t>
        <a:bodyPr/>
        <a:lstStyle/>
        <a:p>
          <a:r>
            <a:rPr lang="pl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Każdy chce być częścią zespołu, który jest pełen szacunku i odnosi sukcesy</a:t>
          </a:r>
          <a:endParaRPr lang="en-US"/>
        </a:p>
      </dgm:t>
    </dgm:pt>
    <dgm:pt modelId="{22737114-0C48-408A-9ADC-FBB5D68DA89B}" type="sibTrans" cxnId="{F52AE98F-4440-4CF9-9C3F-7C83C00112F6}">
      <dgm:prSet/>
      <dgm:spPr/>
      <dgm:t>
        <a:bodyPr/>
        <a:lstStyle/>
        <a:p>
          <a:endParaRPr lang="en-US"/>
        </a:p>
      </dgm:t>
    </dgm:pt>
    <dgm:pt modelId="{3B489F43-81AC-47EA-B6F9-1A9F3623A6FD}" type="parTrans" cxnId="{DB489D52-4256-4235-93EE-F7C32D5A6EBF}">
      <dgm:prSet/>
      <dgm:spPr/>
      <dgm:t>
        <a:bodyPr/>
        <a:lstStyle/>
        <a:p>
          <a:endParaRPr lang="en-US"/>
        </a:p>
      </dgm:t>
    </dgm:pt>
    <dgm:pt modelId="{D5ADE06A-2CD8-4527-BB06-0919124DF32C}">
      <dgm:prSet custT="1"/>
      <dgm:spPr>
        <a:noFill/>
        <a:ln>
          <a:noFill/>
        </a:ln>
      </dgm:spPr>
      <dgm:t>
        <a:bodyPr/>
        <a:lstStyle/>
        <a:p>
          <a:r>
            <a:rPr lang="pl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 ramach programu V&amp;E of 168 przestrzega się zasad zapobiegania dyskryminacji i nękaniu, które wymagają zaangażowania wszystkich</a:t>
          </a:r>
          <a:endParaRPr lang="en-US"/>
        </a:p>
      </dgm:t>
    </dgm:pt>
    <dgm:pt modelId="{8031BCC7-8D90-4C42-9290-ACCDE5A0B9ED}" type="sibTrans" cxnId="{DB489D52-4256-4235-93EE-F7C32D5A6EBF}">
      <dgm:prSet/>
      <dgm:spPr/>
      <dgm:t>
        <a:bodyPr/>
        <a:lstStyle/>
        <a:p>
          <a:endParaRPr lang="en-US"/>
        </a:p>
      </dgm:t>
    </dgm:pt>
    <dgm:pt modelId="{2F0AF00D-06E6-440B-A672-A767CD8F0B53}" type="parTrans" cxnId="{94581379-5546-42A0-A255-D637596F4358}">
      <dgm:prSet/>
      <dgm:spPr/>
      <dgm:t>
        <a:bodyPr/>
        <a:lstStyle/>
        <a:p>
          <a:endParaRPr lang="en-US"/>
        </a:p>
      </dgm:t>
    </dgm:pt>
    <dgm:pt modelId="{255A7C46-93F8-42B9-B3FF-C4120B6D6A85}">
      <dgm:prSet custT="1"/>
      <dgm:spPr>
        <a:noFill/>
        <a:ln>
          <a:noFill/>
        </a:ln>
      </dgm:spPr>
      <dgm:t>
        <a:bodyPr/>
        <a:lstStyle/>
        <a:p>
          <a:r>
            <a:rPr lang="pl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PM nie toleruje braku szacunku, nękania ani dyskryminacji w żadnej formie</a:t>
          </a:r>
          <a:endParaRPr lang="en-US"/>
        </a:p>
      </dgm:t>
    </dgm:pt>
    <dgm:pt modelId="{14D5279D-3554-44D4-A185-DA900563E26D}" type="sibTrans" cxnId="{94581379-5546-42A0-A255-D637596F4358}">
      <dgm:prSet/>
      <dgm:spPr/>
      <dgm:t>
        <a:bodyPr/>
        <a:lstStyle/>
        <a:p>
          <a:endParaRPr lang="en-US"/>
        </a:p>
      </dgm:t>
    </dgm:pt>
    <dgm:pt modelId="{72D0D968-80E7-4D31-AFB8-C5742C4FABDC}" type="parTrans" cxnId="{E2AC08F6-DB28-4779-ACCC-078B27EA4491}">
      <dgm:prSet/>
      <dgm:spPr/>
      <dgm:t>
        <a:bodyPr/>
        <a:lstStyle/>
        <a:p>
          <a:endParaRPr lang="en-US"/>
        </a:p>
      </dgm:t>
    </dgm:pt>
    <dgm:pt modelId="{D5DED7B9-AE0E-4022-87AC-013CCD84826A}">
      <dgm:prSet custT="1"/>
      <dgm:spPr>
        <a:noFill/>
        <a:ln>
          <a:noFill/>
        </a:ln>
      </dgm:spPr>
      <dgm:t>
        <a:bodyPr/>
        <a:lstStyle/>
        <a:p>
          <a:r>
            <a:rPr lang="pl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szyscy musimy się upewnić, że nasze postępowanie odzwierciedla wartości RPM, a w przypadku zauważenia niewłaściwego postępowania musimy podjąć działania</a:t>
          </a:r>
          <a:endParaRPr lang="en-US"/>
        </a:p>
      </dgm:t>
    </dgm:pt>
    <dgm:pt modelId="{CEBD3099-CB00-4B1F-9F22-D2CEB3D1037A}" type="sibTrans" cxnId="{E2AC08F6-DB28-4779-ACCC-078B27EA4491}">
      <dgm:prSet/>
      <dgm:spPr/>
      <dgm:t>
        <a:bodyPr/>
        <a:lstStyle/>
        <a:p>
          <a:endParaRPr lang="en-US"/>
        </a:p>
      </dgm:t>
    </dgm:pt>
    <dgm:pt modelId="{79A6C311-014C-4876-94E9-AC2AA0789466}" type="pres">
      <dgm:prSet presAssocID="{D3B1D878-DD47-4554-B918-FF8182C854DF}" presName="root" presStyleCnt="0">
        <dgm:presLayoutVars>
          <dgm:dir/>
          <dgm:resizeHandles val="exact"/>
        </dgm:presLayoutVars>
      </dgm:prSet>
      <dgm:spPr/>
    </dgm:pt>
    <dgm:pt modelId="{D1AC1FB3-8252-43F4-B1DF-E0B7B991C4ED}" type="pres">
      <dgm:prSet presAssocID="{BD203190-B02D-4833-9639-64C6874E5D6E}" presName="compNode" presStyleCnt="0"/>
      <dgm:spPr/>
    </dgm:pt>
    <dgm:pt modelId="{E5BCA4F3-8F30-418C-9B3B-9FAE6FBB2AFD}" type="pres">
      <dgm:prSet presAssocID="{BD203190-B02D-4833-9639-64C6874E5D6E}" presName="bgRect" presStyleLbl="bgShp" presStyleIdx="0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0E1DE14D-271D-4E48-A734-F66D4AA6B04D}" type="pres">
      <dgm:prSet presAssocID="{BD203190-B02D-4833-9639-64C6874E5D6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oup"/>
        </a:ext>
      </dgm:extLst>
    </dgm:pt>
    <dgm:pt modelId="{AF898DFF-833E-4969-A05C-28F864E3637F}" type="pres">
      <dgm:prSet presAssocID="{BD203190-B02D-4833-9639-64C6874E5D6E}" presName="spaceRect" presStyleCnt="0"/>
      <dgm:spPr/>
    </dgm:pt>
    <dgm:pt modelId="{10EBE8A2-D7D4-4676-91C2-0669EA92AE50}" type="pres">
      <dgm:prSet presAssocID="{BD203190-B02D-4833-9639-64C6874E5D6E}" presName="parTx" presStyleLbl="revTx" presStyleIdx="0" presStyleCnt="4">
        <dgm:presLayoutVars>
          <dgm:chMax val="0"/>
          <dgm:chPref val="0"/>
        </dgm:presLayoutVars>
      </dgm:prSet>
      <dgm:spPr/>
    </dgm:pt>
    <dgm:pt modelId="{AAB631DF-D1E9-4EBA-BFAB-61939DC8BDB1}" type="pres">
      <dgm:prSet presAssocID="{22737114-0C48-408A-9ADC-FBB5D68DA89B}" presName="sibTrans" presStyleCnt="0"/>
      <dgm:spPr/>
    </dgm:pt>
    <dgm:pt modelId="{9EA0C476-91E6-4714-919B-C91EBFC2EB4F}" type="pres">
      <dgm:prSet presAssocID="{D5ADE06A-2CD8-4527-BB06-0919124DF32C}" presName="compNode" presStyleCnt="0"/>
      <dgm:spPr/>
    </dgm:pt>
    <dgm:pt modelId="{62399D1D-6A37-4655-9B96-57525ECC5F52}" type="pres">
      <dgm:prSet presAssocID="{D5ADE06A-2CD8-4527-BB06-0919124DF32C}" presName="bgRect" presStyleLbl="bgShp" presStyleIdx="1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81AAD55-36A6-40B9-B55F-EEF840079F1A}" type="pres">
      <dgm:prSet presAssocID="{D5ADE06A-2CD8-4527-BB06-0919124DF32C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221124F0-5250-4952-B025-754B2DEE029D}" type="pres">
      <dgm:prSet presAssocID="{D5ADE06A-2CD8-4527-BB06-0919124DF32C}" presName="spaceRect" presStyleCnt="0"/>
      <dgm:spPr/>
    </dgm:pt>
    <dgm:pt modelId="{F09238B2-9DB9-4BD7-8219-1D04AF10EADE}" type="pres">
      <dgm:prSet presAssocID="{D5ADE06A-2CD8-4527-BB06-0919124DF32C}" presName="parTx" presStyleLbl="revTx" presStyleIdx="1" presStyleCnt="4">
        <dgm:presLayoutVars>
          <dgm:chMax val="0"/>
          <dgm:chPref val="0"/>
        </dgm:presLayoutVars>
      </dgm:prSet>
      <dgm:spPr/>
    </dgm:pt>
    <dgm:pt modelId="{DC802BC5-1A91-4AF9-9ED1-02F8C352C88F}" type="pres">
      <dgm:prSet presAssocID="{8031BCC7-8D90-4C42-9290-ACCDE5A0B9ED}" presName="sibTrans" presStyleCnt="0"/>
      <dgm:spPr/>
    </dgm:pt>
    <dgm:pt modelId="{4F6FD4E0-2E33-4FE5-AB43-13249D436D2E}" type="pres">
      <dgm:prSet presAssocID="{255A7C46-93F8-42B9-B3FF-C4120B6D6A85}" presName="compNode" presStyleCnt="0"/>
      <dgm:spPr/>
    </dgm:pt>
    <dgm:pt modelId="{2194DC87-0EB3-47A9-A710-50B67ABE9595}" type="pres">
      <dgm:prSet presAssocID="{255A7C46-93F8-42B9-B3FF-C4120B6D6A85}" presName="bgRect" presStyleLbl="bgShp" presStyleIdx="2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E7043F58-D2C7-4873-8DE7-E85D1568F29E}" type="pres">
      <dgm:prSet presAssocID="{255A7C46-93F8-42B9-B3FF-C4120B6D6A85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arth Globe Americas"/>
        </a:ext>
      </dgm:extLst>
    </dgm:pt>
    <dgm:pt modelId="{E91F269F-E74E-44A5-B980-0F943959FF9F}" type="pres">
      <dgm:prSet presAssocID="{255A7C46-93F8-42B9-B3FF-C4120B6D6A85}" presName="spaceRect" presStyleCnt="0"/>
      <dgm:spPr/>
    </dgm:pt>
    <dgm:pt modelId="{E61693E8-D0B4-4833-BD20-F0400943806F}" type="pres">
      <dgm:prSet presAssocID="{255A7C46-93F8-42B9-B3FF-C4120B6D6A85}" presName="parTx" presStyleLbl="revTx" presStyleIdx="2" presStyleCnt="4">
        <dgm:presLayoutVars>
          <dgm:chMax val="0"/>
          <dgm:chPref val="0"/>
        </dgm:presLayoutVars>
      </dgm:prSet>
      <dgm:spPr/>
    </dgm:pt>
    <dgm:pt modelId="{84CA8B17-F245-4AD8-9D97-5A81F130C64C}" type="pres">
      <dgm:prSet presAssocID="{14D5279D-3554-44D4-A185-DA900563E26D}" presName="sibTrans" presStyleCnt="0"/>
      <dgm:spPr/>
    </dgm:pt>
    <dgm:pt modelId="{4DEF3117-8A5A-458D-881B-10B2ACCAB362}" type="pres">
      <dgm:prSet presAssocID="{D5DED7B9-AE0E-4022-87AC-013CCD84826A}" presName="compNode" presStyleCnt="0"/>
      <dgm:spPr/>
    </dgm:pt>
    <dgm:pt modelId="{AEF938DC-0277-4425-B5AA-B6E145ABDF3E}" type="pres">
      <dgm:prSet presAssocID="{D5DED7B9-AE0E-4022-87AC-013CCD84826A}" presName="bgRect" presStyleLbl="bgShp" presStyleIdx="3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BE8DF815-E4EC-4C8B-89A3-02381B28C402}" type="pres">
      <dgm:prSet presAssocID="{D5DED7B9-AE0E-4022-87AC-013CCD84826A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rritant"/>
        </a:ext>
      </dgm:extLst>
    </dgm:pt>
    <dgm:pt modelId="{EFBC4F42-3390-49A4-B52F-7A9440C85FC1}" type="pres">
      <dgm:prSet presAssocID="{D5DED7B9-AE0E-4022-87AC-013CCD84826A}" presName="spaceRect" presStyleCnt="0"/>
      <dgm:spPr/>
    </dgm:pt>
    <dgm:pt modelId="{24931F5D-5E16-4A87-A9D2-51F34F2AEE47}" type="pres">
      <dgm:prSet presAssocID="{D5DED7B9-AE0E-4022-87AC-013CCD84826A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F7319336-D232-422D-8B3A-8DE6166EBE1B}" type="presOf" srcId="{BD203190-B02D-4833-9639-64C6874E5D6E}" destId="{10EBE8A2-D7D4-4676-91C2-0669EA92AE50}" srcOrd="0" destOrd="0" presId="urn:microsoft.com/office/officeart/2018/2/layout/IconVerticalSolidList"/>
    <dgm:cxn modelId="{B20C6862-7400-4961-949B-987B4F1BB2DD}" type="presOf" srcId="{D5DED7B9-AE0E-4022-87AC-013CCD84826A}" destId="{24931F5D-5E16-4A87-A9D2-51F34F2AEE47}" srcOrd="0" destOrd="0" presId="urn:microsoft.com/office/officeart/2018/2/layout/IconVerticalSolidList"/>
    <dgm:cxn modelId="{13B56D4D-D25D-4EC0-AC1A-41535BFFDDDC}" type="presOf" srcId="{D5ADE06A-2CD8-4527-BB06-0919124DF32C}" destId="{F09238B2-9DB9-4BD7-8219-1D04AF10EADE}" srcOrd="0" destOrd="0" presId="urn:microsoft.com/office/officeart/2018/2/layout/IconVerticalSolidList"/>
    <dgm:cxn modelId="{10307D4F-5036-4B02-B140-EACF37DB618D}" type="presOf" srcId="{D3B1D878-DD47-4554-B918-FF8182C854DF}" destId="{79A6C311-014C-4876-94E9-AC2AA0789466}" srcOrd="0" destOrd="0" presId="urn:microsoft.com/office/officeart/2018/2/layout/IconVerticalSolidList"/>
    <dgm:cxn modelId="{DB489D52-4256-4235-93EE-F7C32D5A6EBF}" srcId="{D3B1D878-DD47-4554-B918-FF8182C854DF}" destId="{D5ADE06A-2CD8-4527-BB06-0919124DF32C}" srcOrd="1" destOrd="0" parTransId="{3B489F43-81AC-47EA-B6F9-1A9F3623A6FD}" sibTransId="{8031BCC7-8D90-4C42-9290-ACCDE5A0B9ED}"/>
    <dgm:cxn modelId="{94581379-5546-42A0-A255-D637596F4358}" srcId="{D3B1D878-DD47-4554-B918-FF8182C854DF}" destId="{255A7C46-93F8-42B9-B3FF-C4120B6D6A85}" srcOrd="2" destOrd="0" parTransId="{2F0AF00D-06E6-440B-A672-A767CD8F0B53}" sibTransId="{14D5279D-3554-44D4-A185-DA900563E26D}"/>
    <dgm:cxn modelId="{84ADC879-EC36-4C14-888C-A8770A5CAE88}" type="presOf" srcId="{255A7C46-93F8-42B9-B3FF-C4120B6D6A85}" destId="{E61693E8-D0B4-4833-BD20-F0400943806F}" srcOrd="0" destOrd="0" presId="urn:microsoft.com/office/officeart/2018/2/layout/IconVerticalSolidList"/>
    <dgm:cxn modelId="{F52AE98F-4440-4CF9-9C3F-7C83C00112F6}" srcId="{D3B1D878-DD47-4554-B918-FF8182C854DF}" destId="{BD203190-B02D-4833-9639-64C6874E5D6E}" srcOrd="0" destOrd="0" parTransId="{4872F20E-C901-4018-94B9-DA055639A969}" sibTransId="{22737114-0C48-408A-9ADC-FBB5D68DA89B}"/>
    <dgm:cxn modelId="{E2AC08F6-DB28-4779-ACCC-078B27EA4491}" srcId="{D3B1D878-DD47-4554-B918-FF8182C854DF}" destId="{D5DED7B9-AE0E-4022-87AC-013CCD84826A}" srcOrd="3" destOrd="0" parTransId="{72D0D968-80E7-4D31-AFB8-C5742C4FABDC}" sibTransId="{CEBD3099-CB00-4B1F-9F22-D2CEB3D1037A}"/>
    <dgm:cxn modelId="{AAAB8B4C-9211-4F75-AFF1-2F9139776E0B}" type="presParOf" srcId="{79A6C311-014C-4876-94E9-AC2AA0789466}" destId="{D1AC1FB3-8252-43F4-B1DF-E0B7B991C4ED}" srcOrd="0" destOrd="0" presId="urn:microsoft.com/office/officeart/2018/2/layout/IconVerticalSolidList"/>
    <dgm:cxn modelId="{D7896649-B658-4C81-A450-43504F1201A2}" type="presParOf" srcId="{D1AC1FB3-8252-43F4-B1DF-E0B7B991C4ED}" destId="{E5BCA4F3-8F30-418C-9B3B-9FAE6FBB2AFD}" srcOrd="0" destOrd="0" presId="urn:microsoft.com/office/officeart/2018/2/layout/IconVerticalSolidList"/>
    <dgm:cxn modelId="{20539DBD-679A-4D26-A3C3-D7B26ABAF37D}" type="presParOf" srcId="{D1AC1FB3-8252-43F4-B1DF-E0B7B991C4ED}" destId="{0E1DE14D-271D-4E48-A734-F66D4AA6B04D}" srcOrd="1" destOrd="0" presId="urn:microsoft.com/office/officeart/2018/2/layout/IconVerticalSolidList"/>
    <dgm:cxn modelId="{7E70011E-B46A-492E-9C1F-46BCB30F90F2}" type="presParOf" srcId="{D1AC1FB3-8252-43F4-B1DF-E0B7B991C4ED}" destId="{AF898DFF-833E-4969-A05C-28F864E3637F}" srcOrd="2" destOrd="0" presId="urn:microsoft.com/office/officeart/2018/2/layout/IconVerticalSolidList"/>
    <dgm:cxn modelId="{F4C5ACC2-CE4C-476B-BD5A-B394EE815451}" type="presParOf" srcId="{D1AC1FB3-8252-43F4-B1DF-E0B7B991C4ED}" destId="{10EBE8A2-D7D4-4676-91C2-0669EA92AE50}" srcOrd="3" destOrd="0" presId="urn:microsoft.com/office/officeart/2018/2/layout/IconVerticalSolidList"/>
    <dgm:cxn modelId="{3AD9C304-2553-4BC7-B931-69DC33DCE617}" type="presParOf" srcId="{79A6C311-014C-4876-94E9-AC2AA0789466}" destId="{AAB631DF-D1E9-4EBA-BFAB-61939DC8BDB1}" srcOrd="1" destOrd="0" presId="urn:microsoft.com/office/officeart/2018/2/layout/IconVerticalSolidList"/>
    <dgm:cxn modelId="{631C33D8-D0CE-4605-83B3-52C9C7C14588}" type="presParOf" srcId="{79A6C311-014C-4876-94E9-AC2AA0789466}" destId="{9EA0C476-91E6-4714-919B-C91EBFC2EB4F}" srcOrd="2" destOrd="0" presId="urn:microsoft.com/office/officeart/2018/2/layout/IconVerticalSolidList"/>
    <dgm:cxn modelId="{F2D027BF-A063-410F-AD23-A993ED146FD6}" type="presParOf" srcId="{9EA0C476-91E6-4714-919B-C91EBFC2EB4F}" destId="{62399D1D-6A37-4655-9B96-57525ECC5F52}" srcOrd="0" destOrd="0" presId="urn:microsoft.com/office/officeart/2018/2/layout/IconVerticalSolidList"/>
    <dgm:cxn modelId="{0CE06203-74AC-4850-AEB1-82A5550DE77B}" type="presParOf" srcId="{9EA0C476-91E6-4714-919B-C91EBFC2EB4F}" destId="{581AAD55-36A6-40B9-B55F-EEF840079F1A}" srcOrd="1" destOrd="0" presId="urn:microsoft.com/office/officeart/2018/2/layout/IconVerticalSolidList"/>
    <dgm:cxn modelId="{C368DE7C-35B9-4CD5-AFFA-B03F469BE7ED}" type="presParOf" srcId="{9EA0C476-91E6-4714-919B-C91EBFC2EB4F}" destId="{221124F0-5250-4952-B025-754B2DEE029D}" srcOrd="2" destOrd="0" presId="urn:microsoft.com/office/officeart/2018/2/layout/IconVerticalSolidList"/>
    <dgm:cxn modelId="{D7FD5944-189A-464E-A3DF-A7CA7EBAD321}" type="presParOf" srcId="{9EA0C476-91E6-4714-919B-C91EBFC2EB4F}" destId="{F09238B2-9DB9-4BD7-8219-1D04AF10EADE}" srcOrd="3" destOrd="0" presId="urn:microsoft.com/office/officeart/2018/2/layout/IconVerticalSolidList"/>
    <dgm:cxn modelId="{C705B457-83CB-4EC9-B758-B95B00C57097}" type="presParOf" srcId="{79A6C311-014C-4876-94E9-AC2AA0789466}" destId="{DC802BC5-1A91-4AF9-9ED1-02F8C352C88F}" srcOrd="3" destOrd="0" presId="urn:microsoft.com/office/officeart/2018/2/layout/IconVerticalSolidList"/>
    <dgm:cxn modelId="{34B79026-344F-4AE9-9C53-FF421F7CECF0}" type="presParOf" srcId="{79A6C311-014C-4876-94E9-AC2AA0789466}" destId="{4F6FD4E0-2E33-4FE5-AB43-13249D436D2E}" srcOrd="4" destOrd="0" presId="urn:microsoft.com/office/officeart/2018/2/layout/IconVerticalSolidList"/>
    <dgm:cxn modelId="{CCD3322E-ED80-4ECA-BC31-AEFC36D2E5B0}" type="presParOf" srcId="{4F6FD4E0-2E33-4FE5-AB43-13249D436D2E}" destId="{2194DC87-0EB3-47A9-A710-50B67ABE9595}" srcOrd="0" destOrd="0" presId="urn:microsoft.com/office/officeart/2018/2/layout/IconVerticalSolidList"/>
    <dgm:cxn modelId="{B970016B-7F88-4E95-BA91-A87F985B1889}" type="presParOf" srcId="{4F6FD4E0-2E33-4FE5-AB43-13249D436D2E}" destId="{E7043F58-D2C7-4873-8DE7-E85D1568F29E}" srcOrd="1" destOrd="0" presId="urn:microsoft.com/office/officeart/2018/2/layout/IconVerticalSolidList"/>
    <dgm:cxn modelId="{24F42D10-BA7A-46CD-B075-D34131CB81A9}" type="presParOf" srcId="{4F6FD4E0-2E33-4FE5-AB43-13249D436D2E}" destId="{E91F269F-E74E-44A5-B980-0F943959FF9F}" srcOrd="2" destOrd="0" presId="urn:microsoft.com/office/officeart/2018/2/layout/IconVerticalSolidList"/>
    <dgm:cxn modelId="{B2903B83-C57A-4AA5-A375-281F410A338E}" type="presParOf" srcId="{4F6FD4E0-2E33-4FE5-AB43-13249D436D2E}" destId="{E61693E8-D0B4-4833-BD20-F0400943806F}" srcOrd="3" destOrd="0" presId="urn:microsoft.com/office/officeart/2018/2/layout/IconVerticalSolidList"/>
    <dgm:cxn modelId="{2C56DFDA-0EC5-4296-B46E-D30C6CD00122}" type="presParOf" srcId="{79A6C311-014C-4876-94E9-AC2AA0789466}" destId="{84CA8B17-F245-4AD8-9D97-5A81F130C64C}" srcOrd="5" destOrd="0" presId="urn:microsoft.com/office/officeart/2018/2/layout/IconVerticalSolidList"/>
    <dgm:cxn modelId="{DD678C76-A99E-4AC0-8E9E-9E2E2DB0CF6D}" type="presParOf" srcId="{79A6C311-014C-4876-94E9-AC2AA0789466}" destId="{4DEF3117-8A5A-458D-881B-10B2ACCAB362}" srcOrd="6" destOrd="0" presId="urn:microsoft.com/office/officeart/2018/2/layout/IconVerticalSolidList"/>
    <dgm:cxn modelId="{84F6E6CE-6583-4E6B-9892-EC6195F00345}" type="presParOf" srcId="{4DEF3117-8A5A-458D-881B-10B2ACCAB362}" destId="{AEF938DC-0277-4425-B5AA-B6E145ABDF3E}" srcOrd="0" destOrd="0" presId="urn:microsoft.com/office/officeart/2018/2/layout/IconVerticalSolidList"/>
    <dgm:cxn modelId="{0136DE90-01FE-4167-ADC6-4B565217392F}" type="presParOf" srcId="{4DEF3117-8A5A-458D-881B-10B2ACCAB362}" destId="{BE8DF815-E4EC-4C8B-89A3-02381B28C402}" srcOrd="1" destOrd="0" presId="urn:microsoft.com/office/officeart/2018/2/layout/IconVerticalSolidList"/>
    <dgm:cxn modelId="{08302074-AA7F-4A22-8952-A56245BA9A1C}" type="presParOf" srcId="{4DEF3117-8A5A-458D-881B-10B2ACCAB362}" destId="{EFBC4F42-3390-49A4-B52F-7A9440C85FC1}" srcOrd="2" destOrd="0" presId="urn:microsoft.com/office/officeart/2018/2/layout/IconVerticalSolidList"/>
    <dgm:cxn modelId="{7D3EF5FD-4158-4140-94DA-387B400580ED}" type="presParOf" srcId="{4DEF3117-8A5A-458D-881B-10B2ACCAB362}" destId="{24931F5D-5E16-4A87-A9D2-51F34F2AEE47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D7DFDA6-E816-47B2-9567-C5BB0EEB594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D59F25E-8D6B-4DDC-88B3-DDA63EF0643B}" type="parTrans" cxnId="{F304B42C-99D0-4E51-AEE0-4C108ABADA99}">
      <dgm:prSet/>
      <dgm:spPr/>
      <dgm:t>
        <a:bodyPr/>
        <a:lstStyle/>
        <a:p>
          <a:endParaRPr lang="en-US"/>
        </a:p>
      </dgm:t>
    </dgm:pt>
    <dgm:pt modelId="{04AB9A4F-D9FE-47DA-8246-2A78DFA5655C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Twoje zachowanie sprawia, że ludzie czują się niekomfortowo lub tworzy niepotrzebny konflikt?</a:t>
          </a:r>
          <a:endParaRPr lang="en-US"/>
        </a:p>
      </dgm:t>
    </dgm:pt>
    <dgm:pt modelId="{EF4C7FAD-6507-4D93-A5CA-31A3D9E541FB}" type="sibTrans" cxnId="{F304B42C-99D0-4E51-AEE0-4C108ABADA99}">
      <dgm:prSet/>
      <dgm:spPr/>
      <dgm:t>
        <a:bodyPr/>
        <a:lstStyle/>
        <a:p>
          <a:endParaRPr lang="en-US"/>
        </a:p>
      </dgm:t>
    </dgm:pt>
    <dgm:pt modelId="{B4F0A06B-6C5B-49F8-8386-5178C2202F1F}" type="parTrans" cxnId="{2F00F83D-2990-4D01-9ABB-2767E7703609}">
      <dgm:prSet/>
      <dgm:spPr/>
      <dgm:t>
        <a:bodyPr/>
        <a:lstStyle/>
        <a:p>
          <a:endParaRPr lang="en-US"/>
        </a:p>
      </dgm:t>
    </dgm:pt>
    <dgm:pt modelId="{E36DD077-4630-49D3-894A-E54327E79495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byliby Państwo zakłopotani, gdyby Państwa przyjaciele, rodzina lub liderzy społeczności dowiedzieli się o Państwa zachowaniu?</a:t>
          </a:r>
          <a:endParaRPr lang="en-US"/>
        </a:p>
      </dgm:t>
    </dgm:pt>
    <dgm:pt modelId="{37C34F6D-8763-4626-85D8-27B76A047C36}" type="sibTrans" cxnId="{2F00F83D-2990-4D01-9ABB-2767E7703609}">
      <dgm:prSet/>
      <dgm:spPr/>
      <dgm:t>
        <a:bodyPr/>
        <a:lstStyle/>
        <a:p>
          <a:endParaRPr lang="en-US"/>
        </a:p>
      </dgm:t>
    </dgm:pt>
    <dgm:pt modelId="{36E166FB-1D32-4380-849D-9E46BEC66E4B}" type="parTrans" cxnId="{2205714A-76B7-4C9F-A4F3-1B591F51EAE8}">
      <dgm:prSet/>
      <dgm:spPr/>
      <dgm:t>
        <a:bodyPr/>
        <a:lstStyle/>
        <a:p>
          <a:endParaRPr lang="en-US"/>
        </a:p>
      </dgm:t>
    </dgm:pt>
    <dgm:pt modelId="{22A170D8-7824-4DB9-A761-E3407BE28B42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Twoje zachowanie jest istotne lub konieczne dla Twojej pracy lub wyników?</a:t>
          </a:r>
          <a:endParaRPr lang="en-US"/>
        </a:p>
      </dgm:t>
    </dgm:pt>
    <dgm:pt modelId="{4452BAC6-2866-4B98-816A-4BB16706752C}" type="sibTrans" cxnId="{2205714A-76B7-4C9F-A4F3-1B591F51EAE8}">
      <dgm:prSet/>
      <dgm:spPr/>
      <dgm:t>
        <a:bodyPr/>
        <a:lstStyle/>
        <a:p>
          <a:endParaRPr lang="en-US"/>
        </a:p>
      </dgm:t>
    </dgm:pt>
    <dgm:pt modelId="{763C86D9-2FBC-451F-807E-0D6E3FC96AC4}" type="parTrans" cxnId="{EBE51CCD-0350-4D7B-BD39-1C4F06512D74}">
      <dgm:prSet/>
      <dgm:spPr/>
      <dgm:t>
        <a:bodyPr/>
        <a:lstStyle/>
        <a:p>
          <a:endParaRPr lang="en-US"/>
        </a:p>
      </dgm:t>
    </dgm:pt>
    <dgm:pt modelId="{99AECD81-A579-436B-B436-13B4FBC1CBD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Jeśli odpowiesz „tak” na którekolwiek z tych pytań, zastanów się, czy to, co robisz lub mówisz, jest właściwe.</a:t>
          </a:r>
          <a:endParaRPr lang="en-US"/>
        </a:p>
      </dgm:t>
    </dgm:pt>
    <dgm:pt modelId="{16B654AB-35BC-4062-8FB9-A021A4EDF7E1}" type="sibTrans" cxnId="{EBE51CCD-0350-4D7B-BD39-1C4F06512D74}">
      <dgm:prSet/>
      <dgm:spPr/>
      <dgm:t>
        <a:bodyPr/>
        <a:lstStyle/>
        <a:p>
          <a:endParaRPr lang="en-US"/>
        </a:p>
      </dgm:t>
    </dgm:pt>
    <dgm:pt modelId="{0F90807F-9B06-41A3-9F46-0A44E44457E4}" type="pres">
      <dgm:prSet presAssocID="{ED7DFDA6-E816-47B2-9567-C5BB0EEB594A}" presName="diagram" presStyleCnt="0">
        <dgm:presLayoutVars>
          <dgm:dir/>
          <dgm:resizeHandles val="exact"/>
        </dgm:presLayoutVars>
      </dgm:prSet>
      <dgm:spPr/>
    </dgm:pt>
    <dgm:pt modelId="{6DF8FA57-199B-4FDE-9C3F-99E925313025}" type="pres">
      <dgm:prSet presAssocID="{04AB9A4F-D9FE-47DA-8246-2A78DFA5655C}" presName="node" presStyleLbl="node1" presStyleIdx="0" presStyleCnt="4">
        <dgm:presLayoutVars>
          <dgm:bulletEnabled val="1"/>
        </dgm:presLayoutVars>
      </dgm:prSet>
      <dgm:spPr/>
    </dgm:pt>
    <dgm:pt modelId="{C8248DB2-9292-4124-B95E-ED8B9287618C}" type="pres">
      <dgm:prSet presAssocID="{EF4C7FAD-6507-4D93-A5CA-31A3D9E541FB}" presName="sibTrans" presStyleCnt="0"/>
      <dgm:spPr/>
    </dgm:pt>
    <dgm:pt modelId="{8E972E1B-CF68-4A49-915B-097B6B17B149}" type="pres">
      <dgm:prSet presAssocID="{E36DD077-4630-49D3-894A-E54327E79495}" presName="node" presStyleLbl="node1" presStyleIdx="1" presStyleCnt="4">
        <dgm:presLayoutVars>
          <dgm:bulletEnabled val="1"/>
        </dgm:presLayoutVars>
      </dgm:prSet>
      <dgm:spPr/>
    </dgm:pt>
    <dgm:pt modelId="{A072F57F-2EA5-41A1-9F6E-0A889D4B4517}" type="pres">
      <dgm:prSet presAssocID="{37C34F6D-8763-4626-85D8-27B76A047C36}" presName="sibTrans" presStyleCnt="0"/>
      <dgm:spPr/>
    </dgm:pt>
    <dgm:pt modelId="{243CC102-BC16-4CF6-99B1-D3653BCF54DD}" type="pres">
      <dgm:prSet presAssocID="{22A170D8-7824-4DB9-A761-E3407BE28B42}" presName="node" presStyleLbl="node1" presStyleIdx="2" presStyleCnt="4">
        <dgm:presLayoutVars>
          <dgm:bulletEnabled val="1"/>
        </dgm:presLayoutVars>
      </dgm:prSet>
      <dgm:spPr/>
    </dgm:pt>
    <dgm:pt modelId="{3444DF13-928C-4745-AA5A-98EC000EA8C8}" type="pres">
      <dgm:prSet presAssocID="{4452BAC6-2866-4B98-816A-4BB16706752C}" presName="sibTrans" presStyleCnt="0"/>
      <dgm:spPr/>
    </dgm:pt>
    <dgm:pt modelId="{3345AED3-E8AE-40AD-B56E-281783EF31F5}" type="pres">
      <dgm:prSet presAssocID="{99AECD81-A579-436B-B436-13B4FBC1CBD3}" presName="node" presStyleLbl="node1" presStyleIdx="3" presStyleCnt="4">
        <dgm:presLayoutVars>
          <dgm:bulletEnabled val="1"/>
        </dgm:presLayoutVars>
      </dgm:prSet>
      <dgm:spPr/>
    </dgm:pt>
  </dgm:ptLst>
  <dgm:cxnLst>
    <dgm:cxn modelId="{F304B42C-99D0-4E51-AEE0-4C108ABADA99}" srcId="{ED7DFDA6-E816-47B2-9567-C5BB0EEB594A}" destId="{04AB9A4F-D9FE-47DA-8246-2A78DFA5655C}" srcOrd="0" destOrd="0" parTransId="{ED59F25E-8D6B-4DDC-88B3-DDA63EF0643B}" sibTransId="{EF4C7FAD-6507-4D93-A5CA-31A3D9E541FB}"/>
    <dgm:cxn modelId="{2F00F83D-2990-4D01-9ABB-2767E7703609}" srcId="{ED7DFDA6-E816-47B2-9567-C5BB0EEB594A}" destId="{E36DD077-4630-49D3-894A-E54327E79495}" srcOrd="1" destOrd="0" parTransId="{B4F0A06B-6C5B-49F8-8386-5178C2202F1F}" sibTransId="{37C34F6D-8763-4626-85D8-27B76A047C36}"/>
    <dgm:cxn modelId="{79A9335C-507B-44F7-957E-545818DA2B9E}" type="presOf" srcId="{22A170D8-7824-4DB9-A761-E3407BE28B42}" destId="{243CC102-BC16-4CF6-99B1-D3653BCF54DD}" srcOrd="0" destOrd="0" presId="urn:microsoft.com/office/officeart/2005/8/layout/default"/>
    <dgm:cxn modelId="{2205714A-76B7-4C9F-A4F3-1B591F51EAE8}" srcId="{ED7DFDA6-E816-47B2-9567-C5BB0EEB594A}" destId="{22A170D8-7824-4DB9-A761-E3407BE28B42}" srcOrd="2" destOrd="0" parTransId="{36E166FB-1D32-4380-849D-9E46BEC66E4B}" sibTransId="{4452BAC6-2866-4B98-816A-4BB16706752C}"/>
    <dgm:cxn modelId="{FB90EE6F-089F-4950-AC46-CF1006D5F6D9}" type="presOf" srcId="{E36DD077-4630-49D3-894A-E54327E79495}" destId="{8E972E1B-CF68-4A49-915B-097B6B17B149}" srcOrd="0" destOrd="0" presId="urn:microsoft.com/office/officeart/2005/8/layout/default"/>
    <dgm:cxn modelId="{FA797D5A-DDED-409F-82B2-F1A45A1F3EAE}" type="presOf" srcId="{99AECD81-A579-436B-B436-13B4FBC1CBD3}" destId="{3345AED3-E8AE-40AD-B56E-281783EF31F5}" srcOrd="0" destOrd="0" presId="urn:microsoft.com/office/officeart/2005/8/layout/default"/>
    <dgm:cxn modelId="{EBE51CCD-0350-4D7B-BD39-1C4F06512D74}" srcId="{ED7DFDA6-E816-47B2-9567-C5BB0EEB594A}" destId="{99AECD81-A579-436B-B436-13B4FBC1CBD3}" srcOrd="3" destOrd="0" parTransId="{763C86D9-2FBC-451F-807E-0D6E3FC96AC4}" sibTransId="{16B654AB-35BC-4062-8FB9-A021A4EDF7E1}"/>
    <dgm:cxn modelId="{C794D9F3-AC60-4FCC-8E53-6039412C1640}" type="presOf" srcId="{ED7DFDA6-E816-47B2-9567-C5BB0EEB594A}" destId="{0F90807F-9B06-41A3-9F46-0A44E44457E4}" srcOrd="0" destOrd="0" presId="urn:microsoft.com/office/officeart/2005/8/layout/default"/>
    <dgm:cxn modelId="{C41406FD-F28F-48E7-B6BF-76976834F909}" type="presOf" srcId="{04AB9A4F-D9FE-47DA-8246-2A78DFA5655C}" destId="{6DF8FA57-199B-4FDE-9C3F-99E925313025}" srcOrd="0" destOrd="0" presId="urn:microsoft.com/office/officeart/2005/8/layout/default"/>
    <dgm:cxn modelId="{1ACEB704-E549-4931-850B-58D24E12B9BD}" type="presParOf" srcId="{0F90807F-9B06-41A3-9F46-0A44E44457E4}" destId="{6DF8FA57-199B-4FDE-9C3F-99E925313025}" srcOrd="0" destOrd="0" presId="urn:microsoft.com/office/officeart/2005/8/layout/default"/>
    <dgm:cxn modelId="{EB725E3D-7960-4DC0-8E5C-A08B3E767D18}" type="presParOf" srcId="{0F90807F-9B06-41A3-9F46-0A44E44457E4}" destId="{C8248DB2-9292-4124-B95E-ED8B9287618C}" srcOrd="1" destOrd="0" presId="urn:microsoft.com/office/officeart/2005/8/layout/default"/>
    <dgm:cxn modelId="{FB29C0C2-6899-4777-883B-6A29E8DA5296}" type="presParOf" srcId="{0F90807F-9B06-41A3-9F46-0A44E44457E4}" destId="{8E972E1B-CF68-4A49-915B-097B6B17B149}" srcOrd="2" destOrd="0" presId="urn:microsoft.com/office/officeart/2005/8/layout/default"/>
    <dgm:cxn modelId="{3AC43491-447C-4CD1-AAB3-F4394D5EB2AB}" type="presParOf" srcId="{0F90807F-9B06-41A3-9F46-0A44E44457E4}" destId="{A072F57F-2EA5-41A1-9F6E-0A889D4B4517}" srcOrd="3" destOrd="0" presId="urn:microsoft.com/office/officeart/2005/8/layout/default"/>
    <dgm:cxn modelId="{2996E0B6-A8F6-4FF3-8132-A480EBE8178D}" type="presParOf" srcId="{0F90807F-9B06-41A3-9F46-0A44E44457E4}" destId="{243CC102-BC16-4CF6-99B1-D3653BCF54DD}" srcOrd="4" destOrd="0" presId="urn:microsoft.com/office/officeart/2005/8/layout/default"/>
    <dgm:cxn modelId="{E65E0253-5372-42C5-B644-C5A750566E80}" type="presParOf" srcId="{0F90807F-9B06-41A3-9F46-0A44E44457E4}" destId="{3444DF13-928C-4745-AA5A-98EC000EA8C8}" srcOrd="5" destOrd="0" presId="urn:microsoft.com/office/officeart/2005/8/layout/default"/>
    <dgm:cxn modelId="{ADBAE322-6597-46E2-8743-A5C74226FD34}" type="presParOf" srcId="{0F90807F-9B06-41A3-9F46-0A44E44457E4}" destId="{3345AED3-E8AE-40AD-B56E-281783EF31F5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9FC8E42-7B95-42F1-983B-A5AE72E8C5C0}" type="doc">
      <dgm:prSet loTypeId="urn:diagrams.loki3.com/BracketList" loCatId="officeon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4AC6B5-0AE8-4CF2-984B-CC67AC15CFC5}" type="parTrans" cxnId="{8804D600-3B2D-4E4B-A51A-7C948D0FB7ED}">
      <dgm:prSet/>
      <dgm:spPr/>
      <dgm:t>
        <a:bodyPr/>
        <a:lstStyle/>
        <a:p>
          <a:endParaRPr lang="en-US"/>
        </a:p>
      </dgm:t>
    </dgm:pt>
    <dgm:pt modelId="{972C802A-DE7C-4CFB-AB82-96FFF3476E4E}">
      <dgm:prSet phldrT="[Text]" custT="1"/>
      <dgm:spPr>
        <a:noFill/>
        <a:ln>
          <a:noFill/>
        </a:ln>
      </dgm:spPr>
      <dgm:t>
        <a:bodyPr/>
        <a:lstStyle/>
        <a:p>
          <a:r>
            <a:rPr lang="pl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Kontakt wzrokowy</a:t>
          </a:r>
        </a:p>
      </dgm:t>
    </dgm:pt>
    <dgm:pt modelId="{FECE0BF8-ECB4-4A4E-8988-734D3D2C1857}" type="parTrans" cxnId="{44488F1B-D09F-4A40-AB29-FF424EE890F4}">
      <dgm:prSet/>
      <dgm:spPr/>
      <dgm:t>
        <a:bodyPr/>
        <a:lstStyle/>
        <a:p>
          <a:endParaRPr lang="en-US"/>
        </a:p>
      </dgm:t>
    </dgm:pt>
    <dgm:pt modelId="{5F062A7C-B06E-4406-B0DD-354232FCE705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osoba nawiązująca kontakt wzrokowy? A może tego unikają?</a:t>
          </a:r>
        </a:p>
      </dgm:t>
    </dgm:pt>
    <dgm:pt modelId="{CA457DF6-CDBB-4DA3-BD1A-617D376AAEBA}" type="sibTrans" cxnId="{44488F1B-D09F-4A40-AB29-FF424EE890F4}">
      <dgm:prSet/>
      <dgm:spPr/>
      <dgm:t>
        <a:bodyPr/>
        <a:lstStyle/>
        <a:p>
          <a:endParaRPr lang="en-US"/>
        </a:p>
      </dgm:t>
    </dgm:pt>
    <dgm:pt modelId="{256E1FC6-3853-4AE2-86E4-6245C7BF4F37}" type="sibTrans" cxnId="{8804D600-3B2D-4E4B-A51A-7C948D0FB7ED}">
      <dgm:prSet/>
      <dgm:spPr/>
      <dgm:t>
        <a:bodyPr/>
        <a:lstStyle/>
        <a:p>
          <a:endParaRPr lang="en-US"/>
        </a:p>
      </dgm:t>
    </dgm:pt>
    <dgm:pt modelId="{67B9D431-DA4A-4643-B490-76689F1C1084}" type="parTrans" cxnId="{397ABB93-4B5E-40FA-8C1F-F6553C0044B6}">
      <dgm:prSet/>
      <dgm:spPr/>
      <dgm:t>
        <a:bodyPr/>
        <a:lstStyle/>
        <a:p>
          <a:endParaRPr lang="en-US"/>
        </a:p>
      </dgm:t>
    </dgm:pt>
    <dgm:pt modelId="{F338A198-B74D-4D23-AE14-A82F11E1DAD8}">
      <dgm:prSet phldrT="[Text]" custT="1"/>
      <dgm:spPr>
        <a:noFill/>
        <a:ln>
          <a:noFill/>
        </a:ln>
      </dgm:spPr>
      <dgm:t>
        <a:bodyPr/>
        <a:lstStyle/>
        <a:p>
          <a:r>
            <a:rPr lang="pl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yraz twarzy</a:t>
          </a:r>
        </a:p>
      </dgm:t>
    </dgm:pt>
    <dgm:pt modelId="{64C787F3-2068-421D-BD82-D745F1B49B24}" type="parTrans" cxnId="{BB8DA86B-A540-4932-8095-208975CF1905}">
      <dgm:prSet/>
      <dgm:spPr/>
      <dgm:t>
        <a:bodyPr/>
        <a:lstStyle/>
        <a:p>
          <a:endParaRPr lang="en-US"/>
        </a:p>
      </dgm:t>
    </dgm:pt>
    <dgm:pt modelId="{84A836FC-AAFB-43A3-89CD-795F4C35429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twarz tej osoby wyraża ciepło i zainteresowanie? A może jest pusty lub wykazuje dyskomfort?</a:t>
          </a:r>
        </a:p>
      </dgm:t>
    </dgm:pt>
    <dgm:pt modelId="{54346FDA-23C8-4590-AE78-C257FFBA5052}" type="sibTrans" cxnId="{BB8DA86B-A540-4932-8095-208975CF1905}">
      <dgm:prSet/>
      <dgm:spPr/>
      <dgm:t>
        <a:bodyPr/>
        <a:lstStyle/>
        <a:p>
          <a:endParaRPr lang="en-US"/>
        </a:p>
      </dgm:t>
    </dgm:pt>
    <dgm:pt modelId="{C58A6317-70AB-4D9F-B558-C995C9E345F3}" type="sibTrans" cxnId="{397ABB93-4B5E-40FA-8C1F-F6553C0044B6}">
      <dgm:prSet/>
      <dgm:spPr/>
      <dgm:t>
        <a:bodyPr/>
        <a:lstStyle/>
        <a:p>
          <a:endParaRPr lang="en-US"/>
        </a:p>
      </dgm:t>
    </dgm:pt>
    <dgm:pt modelId="{37BEA225-0283-4195-B462-B25B05722CBB}" type="parTrans" cxnId="{3A884B89-8ADE-4AE1-B15C-61A00C69DC84}">
      <dgm:prSet/>
      <dgm:spPr/>
      <dgm:t>
        <a:bodyPr/>
        <a:lstStyle/>
        <a:p>
          <a:endParaRPr lang="en-US"/>
        </a:p>
      </dgm:t>
    </dgm:pt>
    <dgm:pt modelId="{9B75E048-2AA5-47D4-B202-E2AF294A9841}">
      <dgm:prSet phldrT="[Text]" custT="1"/>
      <dgm:spPr>
        <a:noFill/>
        <a:ln>
          <a:noFill/>
        </a:ln>
      </dgm:spPr>
      <dgm:t>
        <a:bodyPr/>
        <a:lstStyle/>
        <a:p>
          <a:r>
            <a:rPr lang="pl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n głosu</a:t>
          </a:r>
        </a:p>
      </dgm:t>
    </dgm:pt>
    <dgm:pt modelId="{9F71C79D-2DD7-4C89-AEFB-6AAFE803B690}" type="parTrans" cxnId="{54EAFA96-1316-4133-BCD6-3132C2321E5E}">
      <dgm:prSet/>
      <dgm:spPr/>
      <dgm:t>
        <a:bodyPr/>
        <a:lstStyle/>
        <a:p>
          <a:endParaRPr lang="en-US"/>
        </a:p>
      </dgm:t>
    </dgm:pt>
    <dgm:pt modelId="{DDF099B8-1FB4-42BC-8CF7-4F0946E8CE0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głos danej osoby jest wygodny lub interesujący? A może jest napięty?</a:t>
          </a:r>
        </a:p>
      </dgm:t>
    </dgm:pt>
    <dgm:pt modelId="{94CDA1BF-C6A2-44A8-AD23-C61A10A970F6}" type="sibTrans" cxnId="{54EAFA96-1316-4133-BCD6-3132C2321E5E}">
      <dgm:prSet/>
      <dgm:spPr/>
      <dgm:t>
        <a:bodyPr/>
        <a:lstStyle/>
        <a:p>
          <a:endParaRPr lang="en-US"/>
        </a:p>
      </dgm:t>
    </dgm:pt>
    <dgm:pt modelId="{98FC8C8A-113E-4040-8FD7-F6E4AEB3E5A7}" type="sibTrans" cxnId="{3A884B89-8ADE-4AE1-B15C-61A00C69DC84}">
      <dgm:prSet/>
      <dgm:spPr/>
      <dgm:t>
        <a:bodyPr/>
        <a:lstStyle/>
        <a:p>
          <a:endParaRPr lang="en-US"/>
        </a:p>
      </dgm:t>
    </dgm:pt>
    <dgm:pt modelId="{9ACD4190-12A2-49CD-AB0A-A5666B7B7918}" type="parTrans" cxnId="{1970596C-839C-4F51-A354-438493FDA858}">
      <dgm:prSet/>
      <dgm:spPr/>
      <dgm:t>
        <a:bodyPr/>
        <a:lstStyle/>
        <a:p>
          <a:endParaRPr lang="en-US"/>
        </a:p>
      </dgm:t>
    </dgm:pt>
    <dgm:pt modelId="{6CBE69AA-1EAC-4424-B2B7-3F6E128CB8BA}">
      <dgm:prSet phldrT="[Text]" custT="1"/>
      <dgm:spPr>
        <a:noFill/>
        <a:ln>
          <a:noFill/>
        </a:ln>
      </dgm:spPr>
      <dgm:t>
        <a:bodyPr/>
        <a:lstStyle/>
        <a:p>
          <a:r>
            <a:rPr lang="pl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stawa i gest</a:t>
          </a:r>
        </a:p>
      </dgm:t>
    </dgm:pt>
    <dgm:pt modelId="{F38D2D14-BB0A-4111-968D-AD271D79AD40}" type="parTrans" cxnId="{3ACFDA05-1D4F-45F7-BACB-E8BEBF4A3300}">
      <dgm:prSet/>
      <dgm:spPr/>
      <dgm:t>
        <a:bodyPr/>
        <a:lstStyle/>
        <a:p>
          <a:endParaRPr lang="en-US"/>
        </a:p>
      </dgm:t>
    </dgm:pt>
    <dgm:pt modelId="{BD181532-2AC9-4658-A2DD-0F002D433353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ciało tej osoby jest zrelaksowane? A może jest sztywny i nieruchomy?</a:t>
          </a:r>
        </a:p>
      </dgm:t>
    </dgm:pt>
    <dgm:pt modelId="{29DE9D28-1260-47FE-910D-47692CA2A79C}" type="sibTrans" cxnId="{3ACFDA05-1D4F-45F7-BACB-E8BEBF4A3300}">
      <dgm:prSet/>
      <dgm:spPr/>
      <dgm:t>
        <a:bodyPr/>
        <a:lstStyle/>
        <a:p>
          <a:endParaRPr lang="en-US"/>
        </a:p>
      </dgm:t>
    </dgm:pt>
    <dgm:pt modelId="{7B16840F-5494-45CE-9189-F7F911A2009B}" type="sibTrans" cxnId="{1970596C-839C-4F51-A354-438493FDA858}">
      <dgm:prSet/>
      <dgm:spPr/>
      <dgm:t>
        <a:bodyPr/>
        <a:lstStyle/>
        <a:p>
          <a:endParaRPr lang="en-US"/>
        </a:p>
      </dgm:t>
    </dgm:pt>
    <dgm:pt modelId="{807F1521-882E-4D39-8BF8-417E16E78EDB}" type="parTrans" cxnId="{AFCB6504-2872-4810-AE9B-F54033F6A511}">
      <dgm:prSet/>
      <dgm:spPr/>
      <dgm:t>
        <a:bodyPr/>
        <a:lstStyle/>
        <a:p>
          <a:endParaRPr lang="en-US"/>
        </a:p>
      </dgm:t>
    </dgm:pt>
    <dgm:pt modelId="{89CC7EA6-749B-42BC-978E-A38075F5C72B}">
      <dgm:prSet phldrT="[Text]" custT="1"/>
      <dgm:spPr>
        <a:noFill/>
        <a:ln>
          <a:noFill/>
        </a:ln>
      </dgm:spPr>
      <dgm:t>
        <a:bodyPr/>
        <a:lstStyle/>
        <a:p>
          <a:r>
            <a:rPr lang="pl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zas i miejsce</a:t>
          </a:r>
        </a:p>
      </dgm:t>
    </dgm:pt>
    <dgm:pt modelId="{FDC2816E-1A03-468B-9061-AEA76AC6A994}" type="parTrans" cxnId="{49D77F88-A96E-490F-B926-F77F78BC9712}">
      <dgm:prSet/>
      <dgm:spPr/>
      <dgm:t>
        <a:bodyPr/>
        <a:lstStyle/>
        <a:p>
          <a:endParaRPr lang="en-US"/>
        </a:p>
      </dgm:t>
    </dgm:pt>
    <dgm:pt modelId="{CF86E16C-B51F-4AC4-B847-500574210A22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istnieje łatwy przepływ informacji tam i z powrotem? Czy w dużej mierze jest to rozmowa jednokierunkowa?</a:t>
          </a:r>
        </a:p>
      </dgm:t>
    </dgm:pt>
    <dgm:pt modelId="{F690D86F-5A1D-4097-8241-2BC5BE27F639}" type="sibTrans" cxnId="{49D77F88-A96E-490F-B926-F77F78BC9712}">
      <dgm:prSet/>
      <dgm:spPr/>
      <dgm:t>
        <a:bodyPr/>
        <a:lstStyle/>
        <a:p>
          <a:endParaRPr lang="en-US"/>
        </a:p>
      </dgm:t>
    </dgm:pt>
    <dgm:pt modelId="{343B9B90-5CA5-4DF2-A625-3A6F77D8A08D}" type="sibTrans" cxnId="{AFCB6504-2872-4810-AE9B-F54033F6A511}">
      <dgm:prSet/>
      <dgm:spPr/>
      <dgm:t>
        <a:bodyPr/>
        <a:lstStyle/>
        <a:p>
          <a:endParaRPr lang="en-US"/>
        </a:p>
      </dgm:t>
    </dgm:pt>
    <dgm:pt modelId="{1D9BFEA0-AC8A-42F4-B30D-03560ADA1EA1}" type="parTrans" cxnId="{872944A3-34CE-4C3B-8C42-6F1EA0BE712B}">
      <dgm:prSet/>
      <dgm:spPr/>
      <dgm:t>
        <a:bodyPr/>
        <a:lstStyle/>
        <a:p>
          <a:endParaRPr lang="en-US"/>
        </a:p>
      </dgm:t>
    </dgm:pt>
    <dgm:pt modelId="{D627C789-0051-4A89-95D0-9984E46E197F}">
      <dgm:prSet phldrT="[Text]" custT="1"/>
      <dgm:spPr>
        <a:noFill/>
        <a:ln>
          <a:noFill/>
        </a:ln>
      </dgm:spPr>
      <dgm:t>
        <a:bodyPr/>
        <a:lstStyle/>
        <a:p>
          <a:r>
            <a:rPr lang="pl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Zaangażowanie</a:t>
          </a:r>
        </a:p>
      </dgm:t>
    </dgm:pt>
    <dgm:pt modelId="{EAD9AE3A-A04C-45C7-881F-78EF9496FA8C}" type="parTrans" cxnId="{2CFD3567-29DF-4EB2-AD33-9FD7A19D082D}">
      <dgm:prSet/>
      <dgm:spPr/>
      <dgm:t>
        <a:bodyPr/>
        <a:lstStyle/>
        <a:p>
          <a:endParaRPr lang="en-US"/>
        </a:p>
      </dgm:t>
    </dgm:pt>
    <dgm:pt modelId="{DA8ECFEB-D442-451D-8936-BBB3F6B74CCF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ta osoba wydaje się lubić rozmowę? A może szukają wyjścia z interakcji?</a:t>
          </a:r>
        </a:p>
      </dgm:t>
    </dgm:pt>
    <dgm:pt modelId="{97E46952-7C1B-4E28-9386-BD36EE33617D}" type="sibTrans" cxnId="{2CFD3567-29DF-4EB2-AD33-9FD7A19D082D}">
      <dgm:prSet/>
      <dgm:spPr/>
      <dgm:t>
        <a:bodyPr/>
        <a:lstStyle/>
        <a:p>
          <a:endParaRPr lang="en-US"/>
        </a:p>
      </dgm:t>
    </dgm:pt>
    <dgm:pt modelId="{93187921-8FD1-4FDC-8010-6C08D72CF9A5}" type="sibTrans" cxnId="{872944A3-34CE-4C3B-8C42-6F1EA0BE712B}">
      <dgm:prSet/>
      <dgm:spPr/>
      <dgm:t>
        <a:bodyPr/>
        <a:lstStyle/>
        <a:p>
          <a:endParaRPr lang="en-US"/>
        </a:p>
      </dgm:t>
    </dgm:pt>
    <dgm:pt modelId="{60E112F2-CD0F-460D-921B-374A913F71ED}" type="pres">
      <dgm:prSet presAssocID="{A9FC8E42-7B95-42F1-983B-A5AE72E8C5C0}" presName="Name0" presStyleCnt="0">
        <dgm:presLayoutVars>
          <dgm:dir/>
          <dgm:animLvl val="lvl"/>
          <dgm:resizeHandles val="exact"/>
        </dgm:presLayoutVars>
      </dgm:prSet>
      <dgm:spPr/>
    </dgm:pt>
    <dgm:pt modelId="{1A038524-604E-4D2F-9D7E-113C69B7C141}" type="pres">
      <dgm:prSet presAssocID="{972C802A-DE7C-4CFB-AB82-96FFF3476E4E}" presName="linNode" presStyleCnt="0"/>
      <dgm:spPr/>
    </dgm:pt>
    <dgm:pt modelId="{66F51E0D-D045-4E2B-AB0C-4F2EC15C2742}" type="pres">
      <dgm:prSet presAssocID="{972C802A-DE7C-4CFB-AB82-96FFF3476E4E}" presName="parTx" presStyleLbl="revTx" presStyleIdx="0" presStyleCnt="6">
        <dgm:presLayoutVars>
          <dgm:chMax val="1"/>
          <dgm:bulletEnabled val="1"/>
        </dgm:presLayoutVars>
      </dgm:prSet>
      <dgm:spPr/>
    </dgm:pt>
    <dgm:pt modelId="{FC80247D-E118-4105-90BF-F29AB52D411B}" type="pres">
      <dgm:prSet presAssocID="{972C802A-DE7C-4CFB-AB82-96FFF3476E4E}" presName="bracket" presStyleLbl="parChTrans1D1" presStyleIdx="0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0FD2FB49-ED8B-4824-AEAF-3A94420311F8}" type="pres">
      <dgm:prSet presAssocID="{972C802A-DE7C-4CFB-AB82-96FFF3476E4E}" presName="spH" presStyleCnt="0"/>
      <dgm:spPr/>
    </dgm:pt>
    <dgm:pt modelId="{D5929079-7C2E-4F45-A6B9-1B7792F83AEF}" type="pres">
      <dgm:prSet presAssocID="{972C802A-DE7C-4CFB-AB82-96FFF3476E4E}" presName="desTx" presStyleLbl="node1" presStyleIdx="0" presStyleCnt="6">
        <dgm:presLayoutVars>
          <dgm:bulletEnabled val="1"/>
        </dgm:presLayoutVars>
      </dgm:prSet>
      <dgm:spPr/>
    </dgm:pt>
    <dgm:pt modelId="{7DF0E247-63B9-4008-A971-6F49D7F9E081}" type="pres">
      <dgm:prSet presAssocID="{256E1FC6-3853-4AE2-86E4-6245C7BF4F37}" presName="spV" presStyleCnt="0"/>
      <dgm:spPr/>
    </dgm:pt>
    <dgm:pt modelId="{E59D26DB-AF0C-4FA9-84AF-32ED08C4AC0A}" type="pres">
      <dgm:prSet presAssocID="{F338A198-B74D-4D23-AE14-A82F11E1DAD8}" presName="linNode" presStyleCnt="0"/>
      <dgm:spPr/>
    </dgm:pt>
    <dgm:pt modelId="{33D9AD84-C2DD-43AA-B8C0-6E15771BE78B}" type="pres">
      <dgm:prSet presAssocID="{F338A198-B74D-4D23-AE14-A82F11E1DAD8}" presName="parTx" presStyleLbl="revTx" presStyleIdx="1" presStyleCnt="6">
        <dgm:presLayoutVars>
          <dgm:chMax val="1"/>
          <dgm:bulletEnabled val="1"/>
        </dgm:presLayoutVars>
      </dgm:prSet>
      <dgm:spPr/>
    </dgm:pt>
    <dgm:pt modelId="{9117B35D-C06B-428F-8A45-50C11E8FFA23}" type="pres">
      <dgm:prSet presAssocID="{F338A198-B74D-4D23-AE14-A82F11E1DAD8}" presName="bracket" presStyleLbl="parChTrans1D1" presStyleIdx="1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EA474D2E-5346-44AA-8F49-9AD64CE626D8}" type="pres">
      <dgm:prSet presAssocID="{F338A198-B74D-4D23-AE14-A82F11E1DAD8}" presName="spH" presStyleCnt="0"/>
      <dgm:spPr/>
    </dgm:pt>
    <dgm:pt modelId="{34E5CFAF-7A5E-4128-8997-A5651A906319}" type="pres">
      <dgm:prSet presAssocID="{F338A198-B74D-4D23-AE14-A82F11E1DAD8}" presName="desTx" presStyleLbl="node1" presStyleIdx="1" presStyleCnt="6">
        <dgm:presLayoutVars>
          <dgm:bulletEnabled val="1"/>
        </dgm:presLayoutVars>
      </dgm:prSet>
      <dgm:spPr/>
    </dgm:pt>
    <dgm:pt modelId="{00C54DFA-A3F8-406C-B094-0E3D2CF0786D}" type="pres">
      <dgm:prSet presAssocID="{C58A6317-70AB-4D9F-B558-C995C9E345F3}" presName="spV" presStyleCnt="0"/>
      <dgm:spPr/>
    </dgm:pt>
    <dgm:pt modelId="{92973F54-1F5B-4C40-BBAB-9E62B4F56DA9}" type="pres">
      <dgm:prSet presAssocID="{9B75E048-2AA5-47D4-B202-E2AF294A9841}" presName="linNode" presStyleCnt="0"/>
      <dgm:spPr/>
    </dgm:pt>
    <dgm:pt modelId="{5400C3F5-CC03-4C92-9C64-BD6ED3005EC2}" type="pres">
      <dgm:prSet presAssocID="{9B75E048-2AA5-47D4-B202-E2AF294A9841}" presName="parTx" presStyleLbl="revTx" presStyleIdx="2" presStyleCnt="6">
        <dgm:presLayoutVars>
          <dgm:chMax val="1"/>
          <dgm:bulletEnabled val="1"/>
        </dgm:presLayoutVars>
      </dgm:prSet>
      <dgm:spPr/>
    </dgm:pt>
    <dgm:pt modelId="{C3AF3EC1-996A-46C1-B710-476892751235}" type="pres">
      <dgm:prSet presAssocID="{9B75E048-2AA5-47D4-B202-E2AF294A9841}" presName="bracket" presStyleLbl="parChTrans1D1" presStyleIdx="2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7A4A087B-252F-42E5-A266-D59FD817BE35}" type="pres">
      <dgm:prSet presAssocID="{9B75E048-2AA5-47D4-B202-E2AF294A9841}" presName="spH" presStyleCnt="0"/>
      <dgm:spPr/>
    </dgm:pt>
    <dgm:pt modelId="{2A87B468-0784-4F3F-9515-BBB3492CC8A0}" type="pres">
      <dgm:prSet presAssocID="{9B75E048-2AA5-47D4-B202-E2AF294A9841}" presName="desTx" presStyleLbl="node1" presStyleIdx="2" presStyleCnt="6">
        <dgm:presLayoutVars>
          <dgm:bulletEnabled val="1"/>
        </dgm:presLayoutVars>
      </dgm:prSet>
      <dgm:spPr/>
    </dgm:pt>
    <dgm:pt modelId="{DB5F5B3A-2AB1-40C7-A339-6D58ABE1BB22}" type="pres">
      <dgm:prSet presAssocID="{98FC8C8A-113E-4040-8FD7-F6E4AEB3E5A7}" presName="spV" presStyleCnt="0"/>
      <dgm:spPr/>
    </dgm:pt>
    <dgm:pt modelId="{308F86B7-D941-4219-B1EF-1DF0218329AF}" type="pres">
      <dgm:prSet presAssocID="{6CBE69AA-1EAC-4424-B2B7-3F6E128CB8BA}" presName="linNode" presStyleCnt="0"/>
      <dgm:spPr/>
    </dgm:pt>
    <dgm:pt modelId="{85BD6EBC-B7BD-4283-9195-03758FD188DF}" type="pres">
      <dgm:prSet presAssocID="{6CBE69AA-1EAC-4424-B2B7-3F6E128CB8BA}" presName="parTx" presStyleLbl="revTx" presStyleIdx="3" presStyleCnt="6">
        <dgm:presLayoutVars>
          <dgm:chMax val="1"/>
          <dgm:bulletEnabled val="1"/>
        </dgm:presLayoutVars>
      </dgm:prSet>
      <dgm:spPr/>
    </dgm:pt>
    <dgm:pt modelId="{E0FC9C9B-F53E-4A4C-8BA2-1529EE697C2B}" type="pres">
      <dgm:prSet presAssocID="{6CBE69AA-1EAC-4424-B2B7-3F6E128CB8BA}" presName="bracket" presStyleLbl="parChTrans1D1" presStyleIdx="3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F34B3F96-6075-42A2-BF96-870BB31D26EF}" type="pres">
      <dgm:prSet presAssocID="{6CBE69AA-1EAC-4424-B2B7-3F6E128CB8BA}" presName="spH" presStyleCnt="0"/>
      <dgm:spPr/>
    </dgm:pt>
    <dgm:pt modelId="{0ECD8488-674C-4C0C-9655-2C89CD3ACFBA}" type="pres">
      <dgm:prSet presAssocID="{6CBE69AA-1EAC-4424-B2B7-3F6E128CB8BA}" presName="desTx" presStyleLbl="node1" presStyleIdx="3" presStyleCnt="6">
        <dgm:presLayoutVars>
          <dgm:bulletEnabled val="1"/>
        </dgm:presLayoutVars>
      </dgm:prSet>
      <dgm:spPr/>
    </dgm:pt>
    <dgm:pt modelId="{6D7C8854-9976-4879-849A-A5B35E279A0D}" type="pres">
      <dgm:prSet presAssocID="{7B16840F-5494-45CE-9189-F7F911A2009B}" presName="spV" presStyleCnt="0"/>
      <dgm:spPr/>
    </dgm:pt>
    <dgm:pt modelId="{24457AD7-6E8B-451C-9C78-107477CEA4C7}" type="pres">
      <dgm:prSet presAssocID="{89CC7EA6-749B-42BC-978E-A38075F5C72B}" presName="linNode" presStyleCnt="0"/>
      <dgm:spPr/>
    </dgm:pt>
    <dgm:pt modelId="{A3CD7AA6-38F4-4A44-AF0C-AA53CC2A4238}" type="pres">
      <dgm:prSet presAssocID="{89CC7EA6-749B-42BC-978E-A38075F5C72B}" presName="parTx" presStyleLbl="revTx" presStyleIdx="4" presStyleCnt="6">
        <dgm:presLayoutVars>
          <dgm:chMax val="1"/>
          <dgm:bulletEnabled val="1"/>
        </dgm:presLayoutVars>
      </dgm:prSet>
      <dgm:spPr/>
    </dgm:pt>
    <dgm:pt modelId="{A0BBA243-A395-4F9E-9DD5-840A3D69F33B}" type="pres">
      <dgm:prSet presAssocID="{89CC7EA6-749B-42BC-978E-A38075F5C72B}" presName="bracket" presStyleLbl="parChTrans1D1" presStyleIdx="4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9650CA60-831C-4DAE-AD3E-09277EDC17F8}" type="pres">
      <dgm:prSet presAssocID="{89CC7EA6-749B-42BC-978E-A38075F5C72B}" presName="spH" presStyleCnt="0"/>
      <dgm:spPr/>
    </dgm:pt>
    <dgm:pt modelId="{66AAEBA6-B695-4691-8B00-49D1E4CA4B7B}" type="pres">
      <dgm:prSet presAssocID="{89CC7EA6-749B-42BC-978E-A38075F5C72B}" presName="desTx" presStyleLbl="node1" presStyleIdx="4" presStyleCnt="6">
        <dgm:presLayoutVars>
          <dgm:bulletEnabled val="1"/>
        </dgm:presLayoutVars>
      </dgm:prSet>
      <dgm:spPr/>
    </dgm:pt>
    <dgm:pt modelId="{A5ED09AD-6A6C-4925-BEC7-2C2EBCB9A713}" type="pres">
      <dgm:prSet presAssocID="{343B9B90-5CA5-4DF2-A625-3A6F77D8A08D}" presName="spV" presStyleCnt="0"/>
      <dgm:spPr/>
    </dgm:pt>
    <dgm:pt modelId="{79C6ACE2-EAD3-40F1-A40D-7C08DA6A36F9}" type="pres">
      <dgm:prSet presAssocID="{D627C789-0051-4A89-95D0-9984E46E197F}" presName="linNode" presStyleCnt="0"/>
      <dgm:spPr/>
    </dgm:pt>
    <dgm:pt modelId="{1165B149-41F8-4D08-BA1A-5857706E9CDE}" type="pres">
      <dgm:prSet presAssocID="{D627C789-0051-4A89-95D0-9984E46E197F}" presName="parTx" presStyleLbl="revTx" presStyleIdx="5" presStyleCnt="6">
        <dgm:presLayoutVars>
          <dgm:chMax val="1"/>
          <dgm:bulletEnabled val="1"/>
        </dgm:presLayoutVars>
      </dgm:prSet>
      <dgm:spPr/>
    </dgm:pt>
    <dgm:pt modelId="{0A6E157B-C627-4B14-8B26-59B96448430A}" type="pres">
      <dgm:prSet presAssocID="{D627C789-0051-4A89-95D0-9984E46E197F}" presName="bracket" presStyleLbl="parChTrans1D1" presStyleIdx="5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2D612181-86BE-42DF-B0C0-83C5CE48BEBE}" type="pres">
      <dgm:prSet presAssocID="{D627C789-0051-4A89-95D0-9984E46E197F}" presName="spH" presStyleCnt="0"/>
      <dgm:spPr/>
    </dgm:pt>
    <dgm:pt modelId="{B846999F-8B22-4EFB-AAE0-C9D0AFC0A833}" type="pres">
      <dgm:prSet presAssocID="{D627C789-0051-4A89-95D0-9984E46E197F}" presName="desTx" presStyleLbl="node1" presStyleIdx="5" presStyleCnt="6">
        <dgm:presLayoutVars>
          <dgm:bulletEnabled val="1"/>
        </dgm:presLayoutVars>
      </dgm:prSet>
      <dgm:spPr/>
    </dgm:pt>
  </dgm:ptLst>
  <dgm:cxnLst>
    <dgm:cxn modelId="{8804D600-3B2D-4E4B-A51A-7C948D0FB7ED}" srcId="{A9FC8E42-7B95-42F1-983B-A5AE72E8C5C0}" destId="{972C802A-DE7C-4CFB-AB82-96FFF3476E4E}" srcOrd="0" destOrd="0" parTransId="{EB4AC6B5-0AE8-4CF2-984B-CC67AC15CFC5}" sibTransId="{256E1FC6-3853-4AE2-86E4-6245C7BF4F37}"/>
    <dgm:cxn modelId="{AFCB6504-2872-4810-AE9B-F54033F6A511}" srcId="{A9FC8E42-7B95-42F1-983B-A5AE72E8C5C0}" destId="{89CC7EA6-749B-42BC-978E-A38075F5C72B}" srcOrd="4" destOrd="0" parTransId="{807F1521-882E-4D39-8BF8-417E16E78EDB}" sibTransId="{343B9B90-5CA5-4DF2-A625-3A6F77D8A08D}"/>
    <dgm:cxn modelId="{3ACFDA05-1D4F-45F7-BACB-E8BEBF4A3300}" srcId="{6CBE69AA-1EAC-4424-B2B7-3F6E128CB8BA}" destId="{BD181532-2AC9-4658-A2DD-0F002D433353}" srcOrd="0" destOrd="0" parTransId="{F38D2D14-BB0A-4111-968D-AD271D79AD40}" sibTransId="{29DE9D28-1260-47FE-910D-47692CA2A79C}"/>
    <dgm:cxn modelId="{44488F1B-D09F-4A40-AB29-FF424EE890F4}" srcId="{972C802A-DE7C-4CFB-AB82-96FFF3476E4E}" destId="{5F062A7C-B06E-4406-B0DD-354232FCE705}" srcOrd="0" destOrd="0" parTransId="{FECE0BF8-ECB4-4A4E-8988-734D3D2C1857}" sibTransId="{CA457DF6-CDBB-4DA3-BD1A-617D376AAEBA}"/>
    <dgm:cxn modelId="{08E98C1E-2B75-4835-9BD8-D024687A24B5}" type="presOf" srcId="{5F062A7C-B06E-4406-B0DD-354232FCE705}" destId="{D5929079-7C2E-4F45-A6B9-1B7792F83AEF}" srcOrd="0" destOrd="0" presId="urn:diagrams.loki3.com/BracketList"/>
    <dgm:cxn modelId="{B2E4E025-3B53-45CB-B657-AD568F399BCF}" type="presOf" srcId="{F338A198-B74D-4D23-AE14-A82F11E1DAD8}" destId="{33D9AD84-C2DD-43AA-B8C0-6E15771BE78B}" srcOrd="0" destOrd="0" presId="urn:diagrams.loki3.com/BracketList"/>
    <dgm:cxn modelId="{D037F328-7993-4CAA-8DA2-9E8C85B3B616}" type="presOf" srcId="{DA8ECFEB-D442-451D-8936-BBB3F6B74CCF}" destId="{B846999F-8B22-4EFB-AAE0-C9D0AFC0A833}" srcOrd="0" destOrd="0" presId="urn:diagrams.loki3.com/BracketList"/>
    <dgm:cxn modelId="{643B203B-B1A5-4328-9623-3A235CD9CFF2}" type="presOf" srcId="{89CC7EA6-749B-42BC-978E-A38075F5C72B}" destId="{A3CD7AA6-38F4-4A44-AF0C-AA53CC2A4238}" srcOrd="0" destOrd="0" presId="urn:diagrams.loki3.com/BracketList"/>
    <dgm:cxn modelId="{2D36583F-526A-4C34-8951-3DE06A47D51A}" type="presOf" srcId="{DDF099B8-1FB4-42BC-8CF7-4F0946E8CE06}" destId="{2A87B468-0784-4F3F-9515-BBB3492CC8A0}" srcOrd="0" destOrd="0" presId="urn:diagrams.loki3.com/BracketList"/>
    <dgm:cxn modelId="{C9B78C64-8B32-48D5-B784-07A4B7BAB4EE}" type="presOf" srcId="{A9FC8E42-7B95-42F1-983B-A5AE72E8C5C0}" destId="{60E112F2-CD0F-460D-921B-374A913F71ED}" srcOrd="0" destOrd="0" presId="urn:diagrams.loki3.com/BracketList"/>
    <dgm:cxn modelId="{2CFD3567-29DF-4EB2-AD33-9FD7A19D082D}" srcId="{D627C789-0051-4A89-95D0-9984E46E197F}" destId="{DA8ECFEB-D442-451D-8936-BBB3F6B74CCF}" srcOrd="0" destOrd="0" parTransId="{EAD9AE3A-A04C-45C7-881F-78EF9496FA8C}" sibTransId="{97E46952-7C1B-4E28-9386-BD36EE33617D}"/>
    <dgm:cxn modelId="{75BC6A6B-E481-4662-BDAA-833403E45522}" type="presOf" srcId="{9B75E048-2AA5-47D4-B202-E2AF294A9841}" destId="{5400C3F5-CC03-4C92-9C64-BD6ED3005EC2}" srcOrd="0" destOrd="0" presId="urn:diagrams.loki3.com/BracketList"/>
    <dgm:cxn modelId="{BB8DA86B-A540-4932-8095-208975CF1905}" srcId="{F338A198-B74D-4D23-AE14-A82F11E1DAD8}" destId="{84A836FC-AAFB-43A3-89CD-795F4C354296}" srcOrd="0" destOrd="0" parTransId="{64C787F3-2068-421D-BD82-D745F1B49B24}" sibTransId="{54346FDA-23C8-4590-AE78-C257FFBA5052}"/>
    <dgm:cxn modelId="{1970596C-839C-4F51-A354-438493FDA858}" srcId="{A9FC8E42-7B95-42F1-983B-A5AE72E8C5C0}" destId="{6CBE69AA-1EAC-4424-B2B7-3F6E128CB8BA}" srcOrd="3" destOrd="0" parTransId="{9ACD4190-12A2-49CD-AB0A-A5666B7B7918}" sibTransId="{7B16840F-5494-45CE-9189-F7F911A2009B}"/>
    <dgm:cxn modelId="{5B66D779-0AF2-4F41-8051-365F417DB636}" type="presOf" srcId="{84A836FC-AAFB-43A3-89CD-795F4C354296}" destId="{34E5CFAF-7A5E-4128-8997-A5651A906319}" srcOrd="0" destOrd="0" presId="urn:diagrams.loki3.com/BracketList"/>
    <dgm:cxn modelId="{DCBF477D-886C-45BC-B183-9C139FAF8129}" type="presOf" srcId="{D627C789-0051-4A89-95D0-9984E46E197F}" destId="{1165B149-41F8-4D08-BA1A-5857706E9CDE}" srcOrd="0" destOrd="0" presId="urn:diagrams.loki3.com/BracketList"/>
    <dgm:cxn modelId="{49D77F88-A96E-490F-B926-F77F78BC9712}" srcId="{89CC7EA6-749B-42BC-978E-A38075F5C72B}" destId="{CF86E16C-B51F-4AC4-B847-500574210A22}" srcOrd="0" destOrd="0" parTransId="{FDC2816E-1A03-468B-9061-AEA76AC6A994}" sibTransId="{F690D86F-5A1D-4097-8241-2BC5BE27F639}"/>
    <dgm:cxn modelId="{3A884B89-8ADE-4AE1-B15C-61A00C69DC84}" srcId="{A9FC8E42-7B95-42F1-983B-A5AE72E8C5C0}" destId="{9B75E048-2AA5-47D4-B202-E2AF294A9841}" srcOrd="2" destOrd="0" parTransId="{37BEA225-0283-4195-B462-B25B05722CBB}" sibTransId="{98FC8C8A-113E-4040-8FD7-F6E4AEB3E5A7}"/>
    <dgm:cxn modelId="{397ABB93-4B5E-40FA-8C1F-F6553C0044B6}" srcId="{A9FC8E42-7B95-42F1-983B-A5AE72E8C5C0}" destId="{F338A198-B74D-4D23-AE14-A82F11E1DAD8}" srcOrd="1" destOrd="0" parTransId="{67B9D431-DA4A-4643-B490-76689F1C1084}" sibTransId="{C58A6317-70AB-4D9F-B558-C995C9E345F3}"/>
    <dgm:cxn modelId="{54EAFA96-1316-4133-BCD6-3132C2321E5E}" srcId="{9B75E048-2AA5-47D4-B202-E2AF294A9841}" destId="{DDF099B8-1FB4-42BC-8CF7-4F0946E8CE06}" srcOrd="0" destOrd="0" parTransId="{9F71C79D-2DD7-4C89-AEFB-6AAFE803B690}" sibTransId="{94CDA1BF-C6A2-44A8-AD23-C61A10A970F6}"/>
    <dgm:cxn modelId="{07FF5F98-98F1-44BD-8613-58113ADF4EFD}" type="presOf" srcId="{BD181532-2AC9-4658-A2DD-0F002D433353}" destId="{0ECD8488-674C-4C0C-9655-2C89CD3ACFBA}" srcOrd="0" destOrd="0" presId="urn:diagrams.loki3.com/BracketList"/>
    <dgm:cxn modelId="{872944A3-34CE-4C3B-8C42-6F1EA0BE712B}" srcId="{A9FC8E42-7B95-42F1-983B-A5AE72E8C5C0}" destId="{D627C789-0051-4A89-95D0-9984E46E197F}" srcOrd="5" destOrd="0" parTransId="{1D9BFEA0-AC8A-42F4-B30D-03560ADA1EA1}" sibTransId="{93187921-8FD1-4FDC-8010-6C08D72CF9A5}"/>
    <dgm:cxn modelId="{CEF963BA-E423-4CD4-8D60-496A479365D2}" type="presOf" srcId="{6CBE69AA-1EAC-4424-B2B7-3F6E128CB8BA}" destId="{85BD6EBC-B7BD-4283-9195-03758FD188DF}" srcOrd="0" destOrd="0" presId="urn:diagrams.loki3.com/BracketList"/>
    <dgm:cxn modelId="{1E685CDF-6C2B-4BC9-B381-9F9E0DCFDBDA}" type="presOf" srcId="{CF86E16C-B51F-4AC4-B847-500574210A22}" destId="{66AAEBA6-B695-4691-8B00-49D1E4CA4B7B}" srcOrd="0" destOrd="0" presId="urn:diagrams.loki3.com/BracketList"/>
    <dgm:cxn modelId="{9BC4F4FB-214F-4D1D-A55B-E90FFF7ED35C}" type="presOf" srcId="{972C802A-DE7C-4CFB-AB82-96FFF3476E4E}" destId="{66F51E0D-D045-4E2B-AB0C-4F2EC15C2742}" srcOrd="0" destOrd="0" presId="urn:diagrams.loki3.com/BracketList"/>
    <dgm:cxn modelId="{C98B3DFF-117C-4E70-8B33-E0E4DE76E5F3}" type="presParOf" srcId="{60E112F2-CD0F-460D-921B-374A913F71ED}" destId="{1A038524-604E-4D2F-9D7E-113C69B7C141}" srcOrd="0" destOrd="0" presId="urn:diagrams.loki3.com/BracketList"/>
    <dgm:cxn modelId="{704B315C-AC76-42FF-A849-B8736CCF93A7}" type="presParOf" srcId="{1A038524-604E-4D2F-9D7E-113C69B7C141}" destId="{66F51E0D-D045-4E2B-AB0C-4F2EC15C2742}" srcOrd="0" destOrd="0" presId="urn:diagrams.loki3.com/BracketList"/>
    <dgm:cxn modelId="{BDD04F74-387E-4A8D-8D78-EC2DB5356F8E}" type="presParOf" srcId="{1A038524-604E-4D2F-9D7E-113C69B7C141}" destId="{FC80247D-E118-4105-90BF-F29AB52D411B}" srcOrd="1" destOrd="0" presId="urn:diagrams.loki3.com/BracketList"/>
    <dgm:cxn modelId="{CF6211A6-F5C6-4CCE-A609-030781D7688E}" type="presParOf" srcId="{1A038524-604E-4D2F-9D7E-113C69B7C141}" destId="{0FD2FB49-ED8B-4824-AEAF-3A94420311F8}" srcOrd="2" destOrd="0" presId="urn:diagrams.loki3.com/BracketList"/>
    <dgm:cxn modelId="{15FED704-C089-46D2-9783-479A032A3C46}" type="presParOf" srcId="{1A038524-604E-4D2F-9D7E-113C69B7C141}" destId="{D5929079-7C2E-4F45-A6B9-1B7792F83AEF}" srcOrd="3" destOrd="0" presId="urn:diagrams.loki3.com/BracketList"/>
    <dgm:cxn modelId="{EDAC5BD6-3B77-4F8F-A64C-FB3E7FA878CD}" type="presParOf" srcId="{60E112F2-CD0F-460D-921B-374A913F71ED}" destId="{7DF0E247-63B9-4008-A971-6F49D7F9E081}" srcOrd="1" destOrd="0" presId="urn:diagrams.loki3.com/BracketList"/>
    <dgm:cxn modelId="{7D9EB86E-E46A-4471-8F6D-FB915792311A}" type="presParOf" srcId="{60E112F2-CD0F-460D-921B-374A913F71ED}" destId="{E59D26DB-AF0C-4FA9-84AF-32ED08C4AC0A}" srcOrd="2" destOrd="0" presId="urn:diagrams.loki3.com/BracketList"/>
    <dgm:cxn modelId="{63F17A3D-6469-4ED1-856E-EF32FF5C5B39}" type="presParOf" srcId="{E59D26DB-AF0C-4FA9-84AF-32ED08C4AC0A}" destId="{33D9AD84-C2DD-43AA-B8C0-6E15771BE78B}" srcOrd="0" destOrd="0" presId="urn:diagrams.loki3.com/BracketList"/>
    <dgm:cxn modelId="{E5A48B9E-2077-48C5-B699-28151086F928}" type="presParOf" srcId="{E59D26DB-AF0C-4FA9-84AF-32ED08C4AC0A}" destId="{9117B35D-C06B-428F-8A45-50C11E8FFA23}" srcOrd="1" destOrd="0" presId="urn:diagrams.loki3.com/BracketList"/>
    <dgm:cxn modelId="{E3A395CE-97AF-4D22-A847-009273C9E661}" type="presParOf" srcId="{E59D26DB-AF0C-4FA9-84AF-32ED08C4AC0A}" destId="{EA474D2E-5346-44AA-8F49-9AD64CE626D8}" srcOrd="2" destOrd="0" presId="urn:diagrams.loki3.com/BracketList"/>
    <dgm:cxn modelId="{665FAF4C-6134-47E0-AC2D-5890BB118C9B}" type="presParOf" srcId="{E59D26DB-AF0C-4FA9-84AF-32ED08C4AC0A}" destId="{34E5CFAF-7A5E-4128-8997-A5651A906319}" srcOrd="3" destOrd="0" presId="urn:diagrams.loki3.com/BracketList"/>
    <dgm:cxn modelId="{EB20EBDC-8387-448A-B663-5A7131386300}" type="presParOf" srcId="{60E112F2-CD0F-460D-921B-374A913F71ED}" destId="{00C54DFA-A3F8-406C-B094-0E3D2CF0786D}" srcOrd="3" destOrd="0" presId="urn:diagrams.loki3.com/BracketList"/>
    <dgm:cxn modelId="{9744EA26-64EA-4666-B7D4-08396AD39D0E}" type="presParOf" srcId="{60E112F2-CD0F-460D-921B-374A913F71ED}" destId="{92973F54-1F5B-4C40-BBAB-9E62B4F56DA9}" srcOrd="4" destOrd="0" presId="urn:diagrams.loki3.com/BracketList"/>
    <dgm:cxn modelId="{4D3F9489-B786-4383-AEC9-437D56DD4EAF}" type="presParOf" srcId="{92973F54-1F5B-4C40-BBAB-9E62B4F56DA9}" destId="{5400C3F5-CC03-4C92-9C64-BD6ED3005EC2}" srcOrd="0" destOrd="0" presId="urn:diagrams.loki3.com/BracketList"/>
    <dgm:cxn modelId="{97BBB19B-5DFA-4185-B6CB-D81C863402EA}" type="presParOf" srcId="{92973F54-1F5B-4C40-BBAB-9E62B4F56DA9}" destId="{C3AF3EC1-996A-46C1-B710-476892751235}" srcOrd="1" destOrd="0" presId="urn:diagrams.loki3.com/BracketList"/>
    <dgm:cxn modelId="{E9713FC9-6501-4E3D-9B5E-8C5F491F1441}" type="presParOf" srcId="{92973F54-1F5B-4C40-BBAB-9E62B4F56DA9}" destId="{7A4A087B-252F-42E5-A266-D59FD817BE35}" srcOrd="2" destOrd="0" presId="urn:diagrams.loki3.com/BracketList"/>
    <dgm:cxn modelId="{56FDF51D-96C3-42C4-9B33-CF003E8BA2DA}" type="presParOf" srcId="{92973F54-1F5B-4C40-BBAB-9E62B4F56DA9}" destId="{2A87B468-0784-4F3F-9515-BBB3492CC8A0}" srcOrd="3" destOrd="0" presId="urn:diagrams.loki3.com/BracketList"/>
    <dgm:cxn modelId="{EC89A86B-B9C4-4A3B-9633-710CE18DE940}" type="presParOf" srcId="{60E112F2-CD0F-460D-921B-374A913F71ED}" destId="{DB5F5B3A-2AB1-40C7-A339-6D58ABE1BB22}" srcOrd="5" destOrd="0" presId="urn:diagrams.loki3.com/BracketList"/>
    <dgm:cxn modelId="{19E8535E-89ED-44D8-B980-E3582E6BD35B}" type="presParOf" srcId="{60E112F2-CD0F-460D-921B-374A913F71ED}" destId="{308F86B7-D941-4219-B1EF-1DF0218329AF}" srcOrd="6" destOrd="0" presId="urn:diagrams.loki3.com/BracketList"/>
    <dgm:cxn modelId="{15ECA700-8CAB-46E0-9204-F82D27649D48}" type="presParOf" srcId="{308F86B7-D941-4219-B1EF-1DF0218329AF}" destId="{85BD6EBC-B7BD-4283-9195-03758FD188DF}" srcOrd="0" destOrd="0" presId="urn:diagrams.loki3.com/BracketList"/>
    <dgm:cxn modelId="{B5E48274-49C4-463A-8044-97CA5858F01C}" type="presParOf" srcId="{308F86B7-D941-4219-B1EF-1DF0218329AF}" destId="{E0FC9C9B-F53E-4A4C-8BA2-1529EE697C2B}" srcOrd="1" destOrd="0" presId="urn:diagrams.loki3.com/BracketList"/>
    <dgm:cxn modelId="{04A1D362-8948-4529-8A6F-2EA39A49E528}" type="presParOf" srcId="{308F86B7-D941-4219-B1EF-1DF0218329AF}" destId="{F34B3F96-6075-42A2-BF96-870BB31D26EF}" srcOrd="2" destOrd="0" presId="urn:diagrams.loki3.com/BracketList"/>
    <dgm:cxn modelId="{17091901-BF81-4822-80B5-D8B83BB57E3C}" type="presParOf" srcId="{308F86B7-D941-4219-B1EF-1DF0218329AF}" destId="{0ECD8488-674C-4C0C-9655-2C89CD3ACFBA}" srcOrd="3" destOrd="0" presId="urn:diagrams.loki3.com/BracketList"/>
    <dgm:cxn modelId="{C155BD2D-4817-4E8E-B9A9-0DAF470400E8}" type="presParOf" srcId="{60E112F2-CD0F-460D-921B-374A913F71ED}" destId="{6D7C8854-9976-4879-849A-A5B35E279A0D}" srcOrd="7" destOrd="0" presId="urn:diagrams.loki3.com/BracketList"/>
    <dgm:cxn modelId="{BEBB7E4A-3C35-45FF-894A-2774134D39A5}" type="presParOf" srcId="{60E112F2-CD0F-460D-921B-374A913F71ED}" destId="{24457AD7-6E8B-451C-9C78-107477CEA4C7}" srcOrd="8" destOrd="0" presId="urn:diagrams.loki3.com/BracketList"/>
    <dgm:cxn modelId="{4B14D8D4-1983-4726-A021-405050F000C8}" type="presParOf" srcId="{24457AD7-6E8B-451C-9C78-107477CEA4C7}" destId="{A3CD7AA6-38F4-4A44-AF0C-AA53CC2A4238}" srcOrd="0" destOrd="0" presId="urn:diagrams.loki3.com/BracketList"/>
    <dgm:cxn modelId="{0BF1F7D6-1C6C-4104-9CB0-6F3EC9FE8FCA}" type="presParOf" srcId="{24457AD7-6E8B-451C-9C78-107477CEA4C7}" destId="{A0BBA243-A395-4F9E-9DD5-840A3D69F33B}" srcOrd="1" destOrd="0" presId="urn:diagrams.loki3.com/BracketList"/>
    <dgm:cxn modelId="{30964A88-594D-48CA-8AD5-BB9D4CD1031C}" type="presParOf" srcId="{24457AD7-6E8B-451C-9C78-107477CEA4C7}" destId="{9650CA60-831C-4DAE-AD3E-09277EDC17F8}" srcOrd="2" destOrd="0" presId="urn:diagrams.loki3.com/BracketList"/>
    <dgm:cxn modelId="{C7A2F680-0C40-4E7B-900C-FE567736838F}" type="presParOf" srcId="{24457AD7-6E8B-451C-9C78-107477CEA4C7}" destId="{66AAEBA6-B695-4691-8B00-49D1E4CA4B7B}" srcOrd="3" destOrd="0" presId="urn:diagrams.loki3.com/BracketList"/>
    <dgm:cxn modelId="{7B54C85C-570D-466B-9AE4-347F9FD19D81}" type="presParOf" srcId="{60E112F2-CD0F-460D-921B-374A913F71ED}" destId="{A5ED09AD-6A6C-4925-BEC7-2C2EBCB9A713}" srcOrd="9" destOrd="0" presId="urn:diagrams.loki3.com/BracketList"/>
    <dgm:cxn modelId="{7FFD3688-A83C-407D-848E-D143AAAF45D3}" type="presParOf" srcId="{60E112F2-CD0F-460D-921B-374A913F71ED}" destId="{79C6ACE2-EAD3-40F1-A40D-7C08DA6A36F9}" srcOrd="10" destOrd="0" presId="urn:diagrams.loki3.com/BracketList"/>
    <dgm:cxn modelId="{24D0C85B-3DCF-4A79-BA2C-A4494B38A812}" type="presParOf" srcId="{79C6ACE2-EAD3-40F1-A40D-7C08DA6A36F9}" destId="{1165B149-41F8-4D08-BA1A-5857706E9CDE}" srcOrd="0" destOrd="0" presId="urn:diagrams.loki3.com/BracketList"/>
    <dgm:cxn modelId="{018A0DE6-CCF3-449D-8272-2527FA7EF8E5}" type="presParOf" srcId="{79C6ACE2-EAD3-40F1-A40D-7C08DA6A36F9}" destId="{0A6E157B-C627-4B14-8B26-59B96448430A}" srcOrd="1" destOrd="0" presId="urn:diagrams.loki3.com/BracketList"/>
    <dgm:cxn modelId="{5630A5D5-0D07-4AF8-87D4-7D1403F0A209}" type="presParOf" srcId="{79C6ACE2-EAD3-40F1-A40D-7C08DA6A36F9}" destId="{2D612181-86BE-42DF-B0C0-83C5CE48BEBE}" srcOrd="2" destOrd="0" presId="urn:diagrams.loki3.com/BracketList"/>
    <dgm:cxn modelId="{377A3837-DC6F-4713-BD77-A28C1578BF63}" type="presParOf" srcId="{79C6ACE2-EAD3-40F1-A40D-7C08DA6A36F9}" destId="{B846999F-8B22-4EFB-AAE0-C9D0AFC0A833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985AF7C-53D6-44AD-87E4-4EA338F4D7FA}" type="doc">
      <dgm:prSet loTypeId="urn:microsoft.com/office/officeart/2018/5/layout/IconLeafLabel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C2A297BC-DA42-4860-A108-8EE79AEB2CA0}" type="parTrans" cxnId="{9F8BFA7A-0B4E-481C-9ADF-E40611C9005E}">
      <dgm:prSet/>
      <dgm:spPr/>
      <dgm:t>
        <a:bodyPr/>
        <a:lstStyle/>
        <a:p>
          <a:endParaRPr lang="en-US"/>
        </a:p>
      </dgm:t>
    </dgm:pt>
    <dgm:pt modelId="{EBD060C5-95F5-4EE7-A21D-4D675CDEDCC3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pl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Zakłócenia, konfrontacja, wsparcie – ale tylko odpowiednie dla iF!</a:t>
          </a:r>
          <a:endParaRPr lang="en-US"/>
        </a:p>
      </dgm:t>
    </dgm:pt>
    <dgm:pt modelId="{08F2C995-22F9-446E-8812-A0D5B508C4C6}" type="sibTrans" cxnId="{9F8BFA7A-0B4E-481C-9ADF-E40611C9005E}">
      <dgm:prSet/>
      <dgm:spPr/>
      <dgm:t>
        <a:bodyPr/>
        <a:lstStyle/>
        <a:p>
          <a:endParaRPr lang="en-US"/>
        </a:p>
      </dgm:t>
    </dgm:pt>
    <dgm:pt modelId="{C06B86FE-9873-4154-8479-7797CFC38831}" type="parTrans" cxnId="{EA30B84C-0E6B-4225-AB89-46D58AE10261}">
      <dgm:prSet/>
      <dgm:spPr/>
      <dgm:t>
        <a:bodyPr/>
        <a:lstStyle/>
        <a:p>
          <a:endParaRPr lang="en-US"/>
        </a:p>
      </dgm:t>
    </dgm:pt>
    <dgm:pt modelId="{215514A5-DF66-4904-9406-77784F162B95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pl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hcemy wiedzieć, czy uważasz, że czyjeś zachowanie jest niewłaściwe czy niezgodne z prawem. </a:t>
          </a:r>
          <a:endParaRPr lang="en-US"/>
        </a:p>
      </dgm:t>
    </dgm:pt>
    <dgm:pt modelId="{B250ECC4-DD4B-44B9-9935-6E9734B98612}" type="sibTrans" cxnId="{EA30B84C-0E6B-4225-AB89-46D58AE10261}">
      <dgm:prSet/>
      <dgm:spPr/>
      <dgm:t>
        <a:bodyPr/>
        <a:lstStyle/>
        <a:p>
          <a:endParaRPr lang="en-US"/>
        </a:p>
      </dgm:t>
    </dgm:pt>
    <dgm:pt modelId="{56605AA0-B23C-41CB-A9E9-FB42C77D3F9B}" type="parTrans" cxnId="{5386B130-4D07-407F-A1B7-744A37B01A42}">
      <dgm:prSet/>
      <dgm:spPr/>
      <dgm:t>
        <a:bodyPr/>
        <a:lstStyle/>
        <a:p>
          <a:endParaRPr lang="en-US"/>
        </a:p>
      </dgm:t>
    </dgm:pt>
    <dgm:pt modelId="{22C75CE3-3B87-4E45-A239-769E3391166C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pl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szystkie skargi będą traktowane poważnie, badane i rozpatrywane w stosownych przypadkach. </a:t>
          </a:r>
          <a:endParaRPr lang="en-US"/>
        </a:p>
      </dgm:t>
    </dgm:pt>
    <dgm:pt modelId="{873C7F80-16FF-4C2A-9AB6-7A5889C0339F}" type="sibTrans" cxnId="{5386B130-4D07-407F-A1B7-744A37B01A42}">
      <dgm:prSet/>
      <dgm:spPr/>
      <dgm:t>
        <a:bodyPr/>
        <a:lstStyle/>
        <a:p>
          <a:endParaRPr lang="en-US"/>
        </a:p>
      </dgm:t>
    </dgm:pt>
    <dgm:pt modelId="{F47EF451-94B4-4BD6-A5AE-ADAECA63667A}" type="parTrans" cxnId="{5E9D125F-C2B6-41A7-A2DA-ADFDFE07E266}">
      <dgm:prSet/>
      <dgm:spPr/>
      <dgm:t>
        <a:bodyPr/>
        <a:lstStyle/>
        <a:p>
          <a:endParaRPr lang="en-US"/>
        </a:p>
      </dgm:t>
    </dgm:pt>
    <dgm:pt modelId="{544412E3-BEF3-41AF-9D5A-7DA5FBAE64B4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pl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kontaktuj się ze swoim przełożonym, lokalnym działem ds. zgodności z przepisami w zakresie prędkości obrotowej lub zadzwoń na infolinię</a:t>
          </a:r>
          <a:endParaRPr lang="en-US"/>
        </a:p>
      </dgm:t>
    </dgm:pt>
    <dgm:pt modelId="{32D20FFA-0D8A-4FAF-9CB1-AE232A3FCBE7}" type="sibTrans" cxnId="{5E9D125F-C2B6-41A7-A2DA-ADFDFE07E266}">
      <dgm:prSet/>
      <dgm:spPr/>
      <dgm:t>
        <a:bodyPr/>
        <a:lstStyle/>
        <a:p>
          <a:endParaRPr lang="en-US"/>
        </a:p>
      </dgm:t>
    </dgm:pt>
    <dgm:pt modelId="{F99DBA00-032E-4B6D-BCA8-3FF88387C013}" type="pres">
      <dgm:prSet presAssocID="{3985AF7C-53D6-44AD-87E4-4EA338F4D7FA}" presName="root" presStyleCnt="0">
        <dgm:presLayoutVars>
          <dgm:dir/>
          <dgm:resizeHandles val="exact"/>
        </dgm:presLayoutVars>
      </dgm:prSet>
      <dgm:spPr/>
    </dgm:pt>
    <dgm:pt modelId="{786B84CB-C00B-40AB-8D9F-DE78A427A091}" type="pres">
      <dgm:prSet presAssocID="{EBD060C5-95F5-4EE7-A21D-4D675CDEDCC3}" presName="compNode" presStyleCnt="0"/>
      <dgm:spPr/>
    </dgm:pt>
    <dgm:pt modelId="{073D0F38-1697-4DDF-87B5-31AB4FDDCA6E}" type="pres">
      <dgm:prSet presAssocID="{EBD060C5-95F5-4EE7-A21D-4D675CDEDCC3}" presName="iconBgRect" presStyleLbl="bgShp" presStyleIdx="0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972CB9A9-E8F4-48A6-863C-3857BF4A1898}" type="pres">
      <dgm:prSet presAssocID="{EBD060C5-95F5-4EE7-A21D-4D675CDEDCC3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o sign"/>
        </a:ext>
      </dgm:extLst>
    </dgm:pt>
    <dgm:pt modelId="{0F2B5B2A-8E93-4FB1-A7B8-4DBAF9E36D1F}" type="pres">
      <dgm:prSet presAssocID="{EBD060C5-95F5-4EE7-A21D-4D675CDEDCC3}" presName="spaceRect" presStyleCnt="0"/>
      <dgm:spPr/>
    </dgm:pt>
    <dgm:pt modelId="{6AA18965-2D4D-4724-835A-2A765ACE07BF}" type="pres">
      <dgm:prSet presAssocID="{EBD060C5-95F5-4EE7-A21D-4D675CDEDCC3}" presName="textRect" presStyleLbl="revTx" presStyleIdx="0" presStyleCnt="4">
        <dgm:presLayoutVars>
          <dgm:chMax val="1"/>
          <dgm:chPref val="1"/>
        </dgm:presLayoutVars>
      </dgm:prSet>
      <dgm:spPr/>
    </dgm:pt>
    <dgm:pt modelId="{8760EC41-2AED-4DF9-BBCD-2EB65F816AD5}" type="pres">
      <dgm:prSet presAssocID="{08F2C995-22F9-446E-8812-A0D5B508C4C6}" presName="sibTrans" presStyleCnt="0"/>
      <dgm:spPr/>
    </dgm:pt>
    <dgm:pt modelId="{3622DCD7-14D2-4476-A1D7-9FC0F2DF9AEC}" type="pres">
      <dgm:prSet presAssocID="{215514A5-DF66-4904-9406-77784F162B95}" presName="compNode" presStyleCnt="0"/>
      <dgm:spPr/>
    </dgm:pt>
    <dgm:pt modelId="{71CADC7A-C1B0-44C3-93BB-21CE4C51B4F2}" type="pres">
      <dgm:prSet presAssocID="{215514A5-DF66-4904-9406-77784F162B95}" presName="iconBgRect" presStyleLbl="bgShp" presStyleIdx="1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CE7A4B8A-9FB1-49BB-AD5F-E16F4D6B1202}" type="pres">
      <dgm:prSet presAssocID="{215514A5-DF66-4904-9406-77784F162B95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rritant"/>
        </a:ext>
      </dgm:extLst>
    </dgm:pt>
    <dgm:pt modelId="{77223BB5-08AB-4699-B274-66F6273C5AEC}" type="pres">
      <dgm:prSet presAssocID="{215514A5-DF66-4904-9406-77784F162B95}" presName="spaceRect" presStyleCnt="0"/>
      <dgm:spPr/>
    </dgm:pt>
    <dgm:pt modelId="{6FF8B6D1-5618-4F35-9FB1-447D4C8D3EB4}" type="pres">
      <dgm:prSet presAssocID="{215514A5-DF66-4904-9406-77784F162B95}" presName="textRect" presStyleLbl="revTx" presStyleIdx="1" presStyleCnt="4">
        <dgm:presLayoutVars>
          <dgm:chMax val="1"/>
          <dgm:chPref val="1"/>
        </dgm:presLayoutVars>
      </dgm:prSet>
      <dgm:spPr/>
    </dgm:pt>
    <dgm:pt modelId="{EAB3F13C-5F23-491D-9F8A-D25748D3216F}" type="pres">
      <dgm:prSet presAssocID="{B250ECC4-DD4B-44B9-9935-6E9734B98612}" presName="sibTrans" presStyleCnt="0"/>
      <dgm:spPr/>
    </dgm:pt>
    <dgm:pt modelId="{0F7AB7E7-3384-4E1C-A41F-020CE1D72EA1}" type="pres">
      <dgm:prSet presAssocID="{22C75CE3-3B87-4E45-A239-769E3391166C}" presName="compNode" presStyleCnt="0"/>
      <dgm:spPr/>
    </dgm:pt>
    <dgm:pt modelId="{1FE7E204-545F-440C-8C97-4A51872D9726}" type="pres">
      <dgm:prSet presAssocID="{22C75CE3-3B87-4E45-A239-769E3391166C}" presName="iconBgRect" presStyleLbl="bgShp" presStyleIdx="2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85FF4209-844A-4978-977D-D9B2596F75E9}" type="pres">
      <dgm:prSet presAssocID="{22C75CE3-3B87-4E45-A239-769E3391166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Judge"/>
        </a:ext>
      </dgm:extLst>
    </dgm:pt>
    <dgm:pt modelId="{19232F93-B28C-4008-9D2C-5CC2B171F6BF}" type="pres">
      <dgm:prSet presAssocID="{22C75CE3-3B87-4E45-A239-769E3391166C}" presName="spaceRect" presStyleCnt="0"/>
      <dgm:spPr/>
    </dgm:pt>
    <dgm:pt modelId="{30BC5A38-EAF4-4B1E-9660-0ECB3613D90C}" type="pres">
      <dgm:prSet presAssocID="{22C75CE3-3B87-4E45-A239-769E3391166C}" presName="textRect" presStyleLbl="revTx" presStyleIdx="2" presStyleCnt="4">
        <dgm:presLayoutVars>
          <dgm:chMax val="1"/>
          <dgm:chPref val="1"/>
        </dgm:presLayoutVars>
      </dgm:prSet>
      <dgm:spPr/>
    </dgm:pt>
    <dgm:pt modelId="{E20E414B-C7F7-4B94-A0E0-F90A48E33FBB}" type="pres">
      <dgm:prSet presAssocID="{873C7F80-16FF-4C2A-9AB6-7A5889C0339F}" presName="sibTrans" presStyleCnt="0"/>
      <dgm:spPr/>
    </dgm:pt>
    <dgm:pt modelId="{4B26835B-4D7D-49AA-8750-6FD0C36A7C28}" type="pres">
      <dgm:prSet presAssocID="{544412E3-BEF3-41AF-9D5A-7DA5FBAE64B4}" presName="compNode" presStyleCnt="0"/>
      <dgm:spPr/>
    </dgm:pt>
    <dgm:pt modelId="{10143779-9C38-42BF-84D1-1850484485B4}" type="pres">
      <dgm:prSet presAssocID="{544412E3-BEF3-41AF-9D5A-7DA5FBAE64B4}" presName="iconBgRect" presStyleLbl="bgShp" presStyleIdx="3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37D5008-931D-4678-B3D6-809AC5E131FA}" type="pres">
      <dgm:prSet presAssocID="{544412E3-BEF3-41AF-9D5A-7DA5FBAE64B4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 Network"/>
        </a:ext>
      </dgm:extLst>
    </dgm:pt>
    <dgm:pt modelId="{3D256092-D4EE-4D98-9242-1FDD6ED656DA}" type="pres">
      <dgm:prSet presAssocID="{544412E3-BEF3-41AF-9D5A-7DA5FBAE64B4}" presName="spaceRect" presStyleCnt="0"/>
      <dgm:spPr/>
    </dgm:pt>
    <dgm:pt modelId="{6CB0CDB9-D0AE-470D-ABFC-DED3FE7A9B30}" type="pres">
      <dgm:prSet presAssocID="{544412E3-BEF3-41AF-9D5A-7DA5FBAE64B4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BFC00D07-8A17-4C57-AA19-D665C31CE8C7}" type="presOf" srcId="{22C75CE3-3B87-4E45-A239-769E3391166C}" destId="{30BC5A38-EAF4-4B1E-9660-0ECB3613D90C}" srcOrd="0" destOrd="0" presId="urn:microsoft.com/office/officeart/2018/5/layout/IconLeafLabelList"/>
    <dgm:cxn modelId="{5386B130-4D07-407F-A1B7-744A37B01A42}" srcId="{3985AF7C-53D6-44AD-87E4-4EA338F4D7FA}" destId="{22C75CE3-3B87-4E45-A239-769E3391166C}" srcOrd="2" destOrd="0" parTransId="{56605AA0-B23C-41CB-A9E9-FB42C77D3F9B}" sibTransId="{873C7F80-16FF-4C2A-9AB6-7A5889C0339F}"/>
    <dgm:cxn modelId="{5E9D125F-C2B6-41A7-A2DA-ADFDFE07E266}" srcId="{3985AF7C-53D6-44AD-87E4-4EA338F4D7FA}" destId="{544412E3-BEF3-41AF-9D5A-7DA5FBAE64B4}" srcOrd="3" destOrd="0" parTransId="{F47EF451-94B4-4BD6-A5AE-ADAECA63667A}" sibTransId="{32D20FFA-0D8A-4FAF-9CB1-AE232A3FCBE7}"/>
    <dgm:cxn modelId="{EA30B84C-0E6B-4225-AB89-46D58AE10261}" srcId="{3985AF7C-53D6-44AD-87E4-4EA338F4D7FA}" destId="{215514A5-DF66-4904-9406-77784F162B95}" srcOrd="1" destOrd="0" parTransId="{C06B86FE-9873-4154-8479-7797CFC38831}" sibTransId="{B250ECC4-DD4B-44B9-9935-6E9734B98612}"/>
    <dgm:cxn modelId="{9F8BFA7A-0B4E-481C-9ADF-E40611C9005E}" srcId="{3985AF7C-53D6-44AD-87E4-4EA338F4D7FA}" destId="{EBD060C5-95F5-4EE7-A21D-4D675CDEDCC3}" srcOrd="0" destOrd="0" parTransId="{C2A297BC-DA42-4860-A108-8EE79AEB2CA0}" sibTransId="{08F2C995-22F9-446E-8812-A0D5B508C4C6}"/>
    <dgm:cxn modelId="{5167569A-5844-457D-B552-36CF2E54FE59}" type="presOf" srcId="{215514A5-DF66-4904-9406-77784F162B95}" destId="{6FF8B6D1-5618-4F35-9FB1-447D4C8D3EB4}" srcOrd="0" destOrd="0" presId="urn:microsoft.com/office/officeart/2018/5/layout/IconLeafLabelList"/>
    <dgm:cxn modelId="{6C609BAA-0E99-4BE4-A8C2-7F3FF02D5A64}" type="presOf" srcId="{544412E3-BEF3-41AF-9D5A-7DA5FBAE64B4}" destId="{6CB0CDB9-D0AE-470D-ABFC-DED3FE7A9B30}" srcOrd="0" destOrd="0" presId="urn:microsoft.com/office/officeart/2018/5/layout/IconLeafLabelList"/>
    <dgm:cxn modelId="{DA4417EE-B134-4B2C-8967-028A2DCDB696}" type="presOf" srcId="{EBD060C5-95F5-4EE7-A21D-4D675CDEDCC3}" destId="{6AA18965-2D4D-4724-835A-2A765ACE07BF}" srcOrd="0" destOrd="0" presId="urn:microsoft.com/office/officeart/2018/5/layout/IconLeafLabelList"/>
    <dgm:cxn modelId="{F02E0FF9-CFBC-47B2-944F-CF680C99F6AE}" type="presOf" srcId="{3985AF7C-53D6-44AD-87E4-4EA338F4D7FA}" destId="{F99DBA00-032E-4B6D-BCA8-3FF88387C013}" srcOrd="0" destOrd="0" presId="urn:microsoft.com/office/officeart/2018/5/layout/IconLeafLabelList"/>
    <dgm:cxn modelId="{A76E4E1A-BCAF-40D7-842B-2BE1D72A6A91}" type="presParOf" srcId="{F99DBA00-032E-4B6D-BCA8-3FF88387C013}" destId="{786B84CB-C00B-40AB-8D9F-DE78A427A091}" srcOrd="0" destOrd="0" presId="urn:microsoft.com/office/officeart/2018/5/layout/IconLeafLabelList"/>
    <dgm:cxn modelId="{54CED794-1318-4D6E-B0B5-9B36951F2EB2}" type="presParOf" srcId="{786B84CB-C00B-40AB-8D9F-DE78A427A091}" destId="{073D0F38-1697-4DDF-87B5-31AB4FDDCA6E}" srcOrd="0" destOrd="0" presId="urn:microsoft.com/office/officeart/2018/5/layout/IconLeafLabelList"/>
    <dgm:cxn modelId="{32A30FAA-90D7-430B-A2B3-E6074FCC82A7}" type="presParOf" srcId="{786B84CB-C00B-40AB-8D9F-DE78A427A091}" destId="{972CB9A9-E8F4-48A6-863C-3857BF4A1898}" srcOrd="1" destOrd="0" presId="urn:microsoft.com/office/officeart/2018/5/layout/IconLeafLabelList"/>
    <dgm:cxn modelId="{15BE07ED-52E3-4F8F-87A6-32B32C2D2EAE}" type="presParOf" srcId="{786B84CB-C00B-40AB-8D9F-DE78A427A091}" destId="{0F2B5B2A-8E93-4FB1-A7B8-4DBAF9E36D1F}" srcOrd="2" destOrd="0" presId="urn:microsoft.com/office/officeart/2018/5/layout/IconLeafLabelList"/>
    <dgm:cxn modelId="{398161CF-8FFA-4267-A9DA-A3158007F1A3}" type="presParOf" srcId="{786B84CB-C00B-40AB-8D9F-DE78A427A091}" destId="{6AA18965-2D4D-4724-835A-2A765ACE07BF}" srcOrd="3" destOrd="0" presId="urn:microsoft.com/office/officeart/2018/5/layout/IconLeafLabelList"/>
    <dgm:cxn modelId="{955A3656-1DA1-4B9C-8329-3EAF67C5137D}" type="presParOf" srcId="{F99DBA00-032E-4B6D-BCA8-3FF88387C013}" destId="{8760EC41-2AED-4DF9-BBCD-2EB65F816AD5}" srcOrd="1" destOrd="0" presId="urn:microsoft.com/office/officeart/2018/5/layout/IconLeafLabelList"/>
    <dgm:cxn modelId="{E03CBBB7-9F22-4E04-87CB-D98F4314E9D3}" type="presParOf" srcId="{F99DBA00-032E-4B6D-BCA8-3FF88387C013}" destId="{3622DCD7-14D2-4476-A1D7-9FC0F2DF9AEC}" srcOrd="2" destOrd="0" presId="urn:microsoft.com/office/officeart/2018/5/layout/IconLeafLabelList"/>
    <dgm:cxn modelId="{9775ACC0-C892-463D-A3B0-A2E1C686E12E}" type="presParOf" srcId="{3622DCD7-14D2-4476-A1D7-9FC0F2DF9AEC}" destId="{71CADC7A-C1B0-44C3-93BB-21CE4C51B4F2}" srcOrd="0" destOrd="0" presId="urn:microsoft.com/office/officeart/2018/5/layout/IconLeafLabelList"/>
    <dgm:cxn modelId="{5B67C462-5151-4D73-BEB2-1D62FF903C70}" type="presParOf" srcId="{3622DCD7-14D2-4476-A1D7-9FC0F2DF9AEC}" destId="{CE7A4B8A-9FB1-49BB-AD5F-E16F4D6B1202}" srcOrd="1" destOrd="0" presId="urn:microsoft.com/office/officeart/2018/5/layout/IconLeafLabelList"/>
    <dgm:cxn modelId="{D97E68F7-1634-4E73-9831-C8D85FEC84F5}" type="presParOf" srcId="{3622DCD7-14D2-4476-A1D7-9FC0F2DF9AEC}" destId="{77223BB5-08AB-4699-B274-66F6273C5AEC}" srcOrd="2" destOrd="0" presId="urn:microsoft.com/office/officeart/2018/5/layout/IconLeafLabelList"/>
    <dgm:cxn modelId="{02BFEB68-FCAE-42FF-806A-13EC3A60DA63}" type="presParOf" srcId="{3622DCD7-14D2-4476-A1D7-9FC0F2DF9AEC}" destId="{6FF8B6D1-5618-4F35-9FB1-447D4C8D3EB4}" srcOrd="3" destOrd="0" presId="urn:microsoft.com/office/officeart/2018/5/layout/IconLeafLabelList"/>
    <dgm:cxn modelId="{8A7CB841-F24D-453A-8E2A-4B0539AEF008}" type="presParOf" srcId="{F99DBA00-032E-4B6D-BCA8-3FF88387C013}" destId="{EAB3F13C-5F23-491D-9F8A-D25748D3216F}" srcOrd="3" destOrd="0" presId="urn:microsoft.com/office/officeart/2018/5/layout/IconLeafLabelList"/>
    <dgm:cxn modelId="{6B7391F1-2D0E-46E4-8BBD-57A73110D9AB}" type="presParOf" srcId="{F99DBA00-032E-4B6D-BCA8-3FF88387C013}" destId="{0F7AB7E7-3384-4E1C-A41F-020CE1D72EA1}" srcOrd="4" destOrd="0" presId="urn:microsoft.com/office/officeart/2018/5/layout/IconLeafLabelList"/>
    <dgm:cxn modelId="{A6D3F283-5B31-4E54-8DB3-11D7997D179C}" type="presParOf" srcId="{0F7AB7E7-3384-4E1C-A41F-020CE1D72EA1}" destId="{1FE7E204-545F-440C-8C97-4A51872D9726}" srcOrd="0" destOrd="0" presId="urn:microsoft.com/office/officeart/2018/5/layout/IconLeafLabelList"/>
    <dgm:cxn modelId="{1191C8DC-9ED3-40DE-8C0E-6F60CB06377D}" type="presParOf" srcId="{0F7AB7E7-3384-4E1C-A41F-020CE1D72EA1}" destId="{85FF4209-844A-4978-977D-D9B2596F75E9}" srcOrd="1" destOrd="0" presId="urn:microsoft.com/office/officeart/2018/5/layout/IconLeafLabelList"/>
    <dgm:cxn modelId="{4E3A712A-4757-45F0-8440-6A758442C0BE}" type="presParOf" srcId="{0F7AB7E7-3384-4E1C-A41F-020CE1D72EA1}" destId="{19232F93-B28C-4008-9D2C-5CC2B171F6BF}" srcOrd="2" destOrd="0" presId="urn:microsoft.com/office/officeart/2018/5/layout/IconLeafLabelList"/>
    <dgm:cxn modelId="{876C5B46-4284-4BD7-8F26-C237D3E77836}" type="presParOf" srcId="{0F7AB7E7-3384-4E1C-A41F-020CE1D72EA1}" destId="{30BC5A38-EAF4-4B1E-9660-0ECB3613D90C}" srcOrd="3" destOrd="0" presId="urn:microsoft.com/office/officeart/2018/5/layout/IconLeafLabelList"/>
    <dgm:cxn modelId="{B14C62A3-A84D-4937-BEA3-0FC8FBE8D51A}" type="presParOf" srcId="{F99DBA00-032E-4B6D-BCA8-3FF88387C013}" destId="{E20E414B-C7F7-4B94-A0E0-F90A48E33FBB}" srcOrd="5" destOrd="0" presId="urn:microsoft.com/office/officeart/2018/5/layout/IconLeafLabelList"/>
    <dgm:cxn modelId="{48F7CCCC-2206-4E49-9D72-61547B600759}" type="presParOf" srcId="{F99DBA00-032E-4B6D-BCA8-3FF88387C013}" destId="{4B26835B-4D7D-49AA-8750-6FD0C36A7C28}" srcOrd="6" destOrd="0" presId="urn:microsoft.com/office/officeart/2018/5/layout/IconLeafLabelList"/>
    <dgm:cxn modelId="{528D8A2A-4FE7-4B7C-8B2C-AA99C1ABE803}" type="presParOf" srcId="{4B26835B-4D7D-49AA-8750-6FD0C36A7C28}" destId="{10143779-9C38-42BF-84D1-1850484485B4}" srcOrd="0" destOrd="0" presId="urn:microsoft.com/office/officeart/2018/5/layout/IconLeafLabelList"/>
    <dgm:cxn modelId="{CF143B02-37B5-4CDD-8442-784C1683CC67}" type="presParOf" srcId="{4B26835B-4D7D-49AA-8750-6FD0C36A7C28}" destId="{537D5008-931D-4678-B3D6-809AC5E131FA}" srcOrd="1" destOrd="0" presId="urn:microsoft.com/office/officeart/2018/5/layout/IconLeafLabelList"/>
    <dgm:cxn modelId="{52D2F14D-1BCD-4ABA-A176-BECE94234172}" type="presParOf" srcId="{4B26835B-4D7D-49AA-8750-6FD0C36A7C28}" destId="{3D256092-D4EE-4D98-9242-1FDD6ED656DA}" srcOrd="2" destOrd="0" presId="urn:microsoft.com/office/officeart/2018/5/layout/IconLeafLabelList"/>
    <dgm:cxn modelId="{3F5094AC-F6AC-437E-AE43-8CB4CEDE2B96}" type="presParOf" srcId="{4B26835B-4D7D-49AA-8750-6FD0C36A7C28}" destId="{6CB0CDB9-D0AE-470D-ABFC-DED3FE7A9B30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847EA9A9-2A7E-4FE6-BE29-8DF151ECBC7E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397E0D1-58FC-466E-A76A-0F9A90D32313}" type="parTrans" cxnId="{BA63C904-B0D0-44F1-8AC5-FD610CB8A833}">
      <dgm:prSet/>
      <dgm:spPr/>
      <dgm:t>
        <a:bodyPr/>
        <a:lstStyle/>
        <a:p>
          <a:endParaRPr lang="en-US"/>
        </a:p>
      </dgm:t>
    </dgm:pt>
    <dgm:pt modelId="{79707194-1D02-4749-851A-78251A8D6A8E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Zwolnienie</a:t>
          </a:r>
          <a:endParaRPr lang="en-US"/>
        </a:p>
      </dgm:t>
    </dgm:pt>
    <dgm:pt modelId="{CE8F1689-E460-49B6-A0B4-2F42C7441D1E}" type="sibTrans" cxnId="{BA63C904-B0D0-44F1-8AC5-FD610CB8A833}">
      <dgm:prSet/>
      <dgm:spPr/>
      <dgm:t>
        <a:bodyPr/>
        <a:lstStyle/>
        <a:p>
          <a:endParaRPr lang="en-US"/>
        </a:p>
      </dgm:t>
    </dgm:pt>
    <dgm:pt modelId="{AC4E4FE5-E6E9-4735-AABB-0C6819A38BD3}" type="parTrans" cxnId="{4AD56BDA-EC65-455C-9B88-514889A820DE}">
      <dgm:prSet/>
      <dgm:spPr/>
      <dgm:t>
        <a:bodyPr/>
        <a:lstStyle/>
        <a:p>
          <a:endParaRPr lang="en-US"/>
        </a:p>
      </dgm:t>
    </dgm:pt>
    <dgm:pt modelId="{75B6AE6A-9B0F-4ADC-B232-83EB04025669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Degradacja</a:t>
          </a:r>
          <a:endParaRPr lang="en-US"/>
        </a:p>
      </dgm:t>
    </dgm:pt>
    <dgm:pt modelId="{55B0ED60-47A9-4C9D-BED3-2A9BE70A9BE5}" type="sibTrans" cxnId="{4AD56BDA-EC65-455C-9B88-514889A820DE}">
      <dgm:prSet/>
      <dgm:spPr/>
      <dgm:t>
        <a:bodyPr/>
        <a:lstStyle/>
        <a:p>
          <a:endParaRPr lang="en-US"/>
        </a:p>
      </dgm:t>
    </dgm:pt>
    <dgm:pt modelId="{4F78A490-1C23-4BBF-8016-997EFAAE478F}" type="parTrans" cxnId="{F7BB4E46-D576-4C19-9F2C-2D43503AC6B1}">
      <dgm:prSet/>
      <dgm:spPr/>
      <dgm:t>
        <a:bodyPr/>
        <a:lstStyle/>
        <a:p>
          <a:endParaRPr lang="en-US"/>
        </a:p>
      </dgm:t>
    </dgm:pt>
    <dgm:pt modelId="{0C3E5329-EB5E-4889-9701-0849A8CD9D82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nsfer</a:t>
          </a:r>
          <a:endParaRPr lang="en-US"/>
        </a:p>
      </dgm:t>
    </dgm:pt>
    <dgm:pt modelId="{1E1AEB77-E215-409E-B983-A154334C1190}" type="sibTrans" cxnId="{F7BB4E46-D576-4C19-9F2C-2D43503AC6B1}">
      <dgm:prSet/>
      <dgm:spPr/>
      <dgm:t>
        <a:bodyPr/>
        <a:lstStyle/>
        <a:p>
          <a:endParaRPr lang="en-US"/>
        </a:p>
      </dgm:t>
    </dgm:pt>
    <dgm:pt modelId="{ADCB2420-3E8D-4D10-815F-BFB534DBDEEC}" type="parTrans" cxnId="{CD2D5D63-B0D6-4C01-B62E-758AA573EB64}">
      <dgm:prSet/>
      <dgm:spPr/>
      <dgm:t>
        <a:bodyPr/>
        <a:lstStyle/>
        <a:p>
          <a:endParaRPr lang="en-US"/>
        </a:p>
      </dgm:t>
    </dgm:pt>
    <dgm:pt modelId="{49DA00EC-20E3-4959-92DB-5FE0DB4E1078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Mniej korzystne zadania lub harmonogram pracy</a:t>
          </a:r>
          <a:endParaRPr lang="en-US"/>
        </a:p>
      </dgm:t>
    </dgm:pt>
    <dgm:pt modelId="{1407D1F4-DC74-4D0C-B033-11CE032EE418}" type="sibTrans" cxnId="{CD2D5D63-B0D6-4C01-B62E-758AA573EB64}">
      <dgm:prSet/>
      <dgm:spPr/>
      <dgm:t>
        <a:bodyPr/>
        <a:lstStyle/>
        <a:p>
          <a:endParaRPr lang="en-US"/>
        </a:p>
      </dgm:t>
    </dgm:pt>
    <dgm:pt modelId="{5ADD28B4-A80F-4093-AC94-16D6D563B90B}" type="parTrans" cxnId="{FF5CD561-7E27-4C70-89D3-7F7B8F03EADC}">
      <dgm:prSet/>
      <dgm:spPr/>
      <dgm:t>
        <a:bodyPr/>
        <a:lstStyle/>
        <a:p>
          <a:endParaRPr lang="en-US"/>
        </a:p>
      </dgm:t>
    </dgm:pt>
    <dgm:pt modelId="{1EB4BC62-DA52-4EFC-9CA8-418C08D2348D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yciek akt osobowych w celu dyskredytowania lub dyskredytowania ofiary lub świadka dyskryminacji</a:t>
          </a:r>
          <a:endParaRPr lang="en-US"/>
        </a:p>
      </dgm:t>
    </dgm:pt>
    <dgm:pt modelId="{C9EFA232-B22D-4D18-BF81-0244D2085864}" type="sibTrans" cxnId="{FF5CD561-7E27-4C70-89D3-7F7B8F03EADC}">
      <dgm:prSet/>
      <dgm:spPr/>
      <dgm:t>
        <a:bodyPr/>
        <a:lstStyle/>
        <a:p>
          <a:endParaRPr lang="en-US"/>
        </a:p>
      </dgm:t>
    </dgm:pt>
    <dgm:pt modelId="{2BC36E68-80C0-47FE-9E60-1D6E80AC1868}" type="parTrans" cxnId="{81E619CD-C1A6-41CB-91E1-7483ECBFFDBC}">
      <dgm:prSet/>
      <dgm:spPr/>
      <dgm:t>
        <a:bodyPr/>
        <a:lstStyle/>
        <a:p>
          <a:endParaRPr lang="en-US"/>
        </a:p>
      </dgm:t>
    </dgm:pt>
    <dgm:pt modelId="{231A5E3E-BEAC-4643-AEC0-494E55F94A3B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Bycie strzeżonym lub ostraconym przez współpracowników</a:t>
          </a:r>
          <a:endParaRPr lang="en-US"/>
        </a:p>
      </dgm:t>
    </dgm:pt>
    <dgm:pt modelId="{8F061D4F-67C0-462D-98B5-6197DF537B08}" type="sibTrans" cxnId="{81E619CD-C1A6-41CB-91E1-7483ECBFFDBC}">
      <dgm:prSet/>
      <dgm:spPr/>
      <dgm:t>
        <a:bodyPr/>
        <a:lstStyle/>
        <a:p>
          <a:endParaRPr lang="en-US"/>
        </a:p>
      </dgm:t>
    </dgm:pt>
    <dgm:pt modelId="{8CE7926D-684E-4318-8AD1-74B82DCD2295}" type="parTrans" cxnId="{ECC8DC35-F80F-434A-A703-5F1F02FA020D}">
      <dgm:prSet/>
      <dgm:spPr/>
      <dgm:t>
        <a:bodyPr/>
        <a:lstStyle/>
        <a:p>
          <a:endParaRPr lang="en-US"/>
        </a:p>
      </dgm:t>
    </dgm:pt>
    <dgm:pt modelId="{66759DA8-7923-4702-8294-94150FFE7905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abotaż ze strony współpracowników</a:t>
          </a:r>
          <a:endParaRPr lang="en-US"/>
        </a:p>
      </dgm:t>
    </dgm:pt>
    <dgm:pt modelId="{94499F2B-AD42-41F6-B221-73712FCD1BC6}" type="sibTrans" cxnId="{ECC8DC35-F80F-434A-A703-5F1F02FA020D}">
      <dgm:prSet/>
      <dgm:spPr/>
      <dgm:t>
        <a:bodyPr/>
        <a:lstStyle/>
        <a:p>
          <a:endParaRPr lang="en-US"/>
        </a:p>
      </dgm:t>
    </dgm:pt>
    <dgm:pt modelId="{41503E0F-AB6D-4568-9453-ABA59B82A4CC}" type="pres">
      <dgm:prSet presAssocID="{847EA9A9-2A7E-4FE6-BE29-8DF151ECBC7E}" presName="root" presStyleCnt="0">
        <dgm:presLayoutVars>
          <dgm:dir/>
          <dgm:resizeHandles val="exact"/>
        </dgm:presLayoutVars>
      </dgm:prSet>
      <dgm:spPr/>
    </dgm:pt>
    <dgm:pt modelId="{818C0BB3-442E-42EB-B956-37DA187B65FF}" type="pres">
      <dgm:prSet presAssocID="{79707194-1D02-4749-851A-78251A8D6A8E}" presName="compNode" presStyleCnt="0"/>
      <dgm:spPr/>
    </dgm:pt>
    <dgm:pt modelId="{52A512D9-B40D-47F9-A846-C726F51B1EC6}" type="pres">
      <dgm:prSet presAssocID="{79707194-1D02-4749-851A-78251A8D6A8E}" presName="bgRect" presStyleLbl="bgShp" presStyleIdx="0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CA508474-D63E-4A16-9167-594C791466C4}" type="pres">
      <dgm:prSet presAssocID="{79707194-1D02-4749-851A-78251A8D6A8E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avel"/>
        </a:ext>
      </dgm:extLst>
    </dgm:pt>
    <dgm:pt modelId="{58DC08D3-6ECA-4AC7-A6C4-0D833EF8AF69}" type="pres">
      <dgm:prSet presAssocID="{79707194-1D02-4749-851A-78251A8D6A8E}" presName="spaceRect" presStyleCnt="0"/>
      <dgm:spPr/>
    </dgm:pt>
    <dgm:pt modelId="{DCAD54F1-4A2A-422E-A86B-590182CAB8AA}" type="pres">
      <dgm:prSet presAssocID="{79707194-1D02-4749-851A-78251A8D6A8E}" presName="parTx" presStyleLbl="revTx" presStyleIdx="0" presStyleCnt="7">
        <dgm:presLayoutVars>
          <dgm:chMax val="0"/>
          <dgm:chPref val="0"/>
        </dgm:presLayoutVars>
      </dgm:prSet>
      <dgm:spPr/>
    </dgm:pt>
    <dgm:pt modelId="{446014D1-B799-4496-B82A-4DBBC3131499}" type="pres">
      <dgm:prSet presAssocID="{CE8F1689-E460-49B6-A0B4-2F42C7441D1E}" presName="sibTrans" presStyleCnt="0"/>
      <dgm:spPr/>
    </dgm:pt>
    <dgm:pt modelId="{4FFB4288-2951-440D-A775-60785C73E6AA}" type="pres">
      <dgm:prSet presAssocID="{75B6AE6A-9B0F-4ADC-B232-83EB04025669}" presName="compNode" presStyleCnt="0"/>
      <dgm:spPr/>
    </dgm:pt>
    <dgm:pt modelId="{02EE004D-26FC-47D1-8269-69D20901CA23}" type="pres">
      <dgm:prSet presAssocID="{75B6AE6A-9B0F-4ADC-B232-83EB04025669}" presName="bgRect" presStyleLbl="bgShp" presStyleIdx="1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9E412361-0DD8-455E-ABDC-E515BF65EB9D}" type="pres">
      <dgm:prSet presAssocID="{75B6AE6A-9B0F-4ADC-B232-83EB04025669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lay"/>
        </a:ext>
      </dgm:extLst>
    </dgm:pt>
    <dgm:pt modelId="{C21354FB-AD36-42B0-93BE-5F83ED150F04}" type="pres">
      <dgm:prSet presAssocID="{75B6AE6A-9B0F-4ADC-B232-83EB04025669}" presName="spaceRect" presStyleCnt="0"/>
      <dgm:spPr/>
    </dgm:pt>
    <dgm:pt modelId="{A97B8EB0-C577-4054-84C1-818EA38BF5B9}" type="pres">
      <dgm:prSet presAssocID="{75B6AE6A-9B0F-4ADC-B232-83EB04025669}" presName="parTx" presStyleLbl="revTx" presStyleIdx="1" presStyleCnt="7">
        <dgm:presLayoutVars>
          <dgm:chMax val="0"/>
          <dgm:chPref val="0"/>
        </dgm:presLayoutVars>
      </dgm:prSet>
      <dgm:spPr/>
    </dgm:pt>
    <dgm:pt modelId="{9D06C7C4-FB12-4400-9E9F-3C637653350D}" type="pres">
      <dgm:prSet presAssocID="{55B0ED60-47A9-4C9D-BED3-2A9BE70A9BE5}" presName="sibTrans" presStyleCnt="0"/>
      <dgm:spPr/>
    </dgm:pt>
    <dgm:pt modelId="{40ADC1F3-7B7B-415D-B1A9-2DD20BC18B22}" type="pres">
      <dgm:prSet presAssocID="{0C3E5329-EB5E-4889-9701-0849A8CD9D82}" presName="compNode" presStyleCnt="0"/>
      <dgm:spPr/>
    </dgm:pt>
    <dgm:pt modelId="{3951A61D-F069-4616-989D-20A828000FE1}" type="pres">
      <dgm:prSet presAssocID="{0C3E5329-EB5E-4889-9701-0849A8CD9D82}" presName="bgRect" presStyleLbl="bgShp" presStyleIdx="2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B2C44930-8854-438D-90B1-22C51B82B008}" type="pres">
      <dgm:prSet presAssocID="{0C3E5329-EB5E-4889-9701-0849A8CD9D82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ransfer"/>
        </a:ext>
      </dgm:extLst>
    </dgm:pt>
    <dgm:pt modelId="{BFF2EDA0-9815-4D23-9634-A8908693BE85}" type="pres">
      <dgm:prSet presAssocID="{0C3E5329-EB5E-4889-9701-0849A8CD9D82}" presName="spaceRect" presStyleCnt="0"/>
      <dgm:spPr/>
    </dgm:pt>
    <dgm:pt modelId="{635091B8-29C0-4ABE-8DEC-334A61052E0C}" type="pres">
      <dgm:prSet presAssocID="{0C3E5329-EB5E-4889-9701-0849A8CD9D82}" presName="parTx" presStyleLbl="revTx" presStyleIdx="2" presStyleCnt="7">
        <dgm:presLayoutVars>
          <dgm:chMax val="0"/>
          <dgm:chPref val="0"/>
        </dgm:presLayoutVars>
      </dgm:prSet>
      <dgm:spPr/>
    </dgm:pt>
    <dgm:pt modelId="{935AB0F7-C73A-4D15-9A92-396AE39B2FBF}" type="pres">
      <dgm:prSet presAssocID="{1E1AEB77-E215-409E-B983-A154334C1190}" presName="sibTrans" presStyleCnt="0"/>
      <dgm:spPr/>
    </dgm:pt>
    <dgm:pt modelId="{5668A616-B452-4CEF-8524-26589C63C0B2}" type="pres">
      <dgm:prSet presAssocID="{49DA00EC-20E3-4959-92DB-5FE0DB4E1078}" presName="compNode" presStyleCnt="0"/>
      <dgm:spPr/>
    </dgm:pt>
    <dgm:pt modelId="{2B9FBFC2-2DA2-4537-8E9D-0102188BB8DA}" type="pres">
      <dgm:prSet presAssocID="{49DA00EC-20E3-4959-92DB-5FE0DB4E1078}" presName="bgRect" presStyleLbl="bgShp" presStyleIdx="3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098824A6-FCA5-4A1B-9C93-02EBF6CE40C2}" type="pres">
      <dgm:prSet presAssocID="{49DA00EC-20E3-4959-92DB-5FE0DB4E1078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73A4532D-A95C-4D67-8544-DF90B65AF08C}" type="pres">
      <dgm:prSet presAssocID="{49DA00EC-20E3-4959-92DB-5FE0DB4E1078}" presName="spaceRect" presStyleCnt="0"/>
      <dgm:spPr/>
    </dgm:pt>
    <dgm:pt modelId="{CDB89971-F98F-4B5E-A3E6-D8B427874E72}" type="pres">
      <dgm:prSet presAssocID="{49DA00EC-20E3-4959-92DB-5FE0DB4E1078}" presName="parTx" presStyleLbl="revTx" presStyleIdx="3" presStyleCnt="7">
        <dgm:presLayoutVars>
          <dgm:chMax val="0"/>
          <dgm:chPref val="0"/>
        </dgm:presLayoutVars>
      </dgm:prSet>
      <dgm:spPr/>
    </dgm:pt>
    <dgm:pt modelId="{C8798EC8-CDEE-4D35-BD8F-FAC6BDEAA192}" type="pres">
      <dgm:prSet presAssocID="{1407D1F4-DC74-4D0C-B033-11CE032EE418}" presName="sibTrans" presStyleCnt="0"/>
      <dgm:spPr/>
    </dgm:pt>
    <dgm:pt modelId="{4729E7F1-7AFB-47B7-90AD-2020F44037FA}" type="pres">
      <dgm:prSet presAssocID="{1EB4BC62-DA52-4EFC-9CA8-418C08D2348D}" presName="compNode" presStyleCnt="0"/>
      <dgm:spPr/>
    </dgm:pt>
    <dgm:pt modelId="{5A0D2530-66A5-456F-BF2D-18FEAD527C88}" type="pres">
      <dgm:prSet presAssocID="{1EB4BC62-DA52-4EFC-9CA8-418C08D2348D}" presName="bgRect" presStyleLbl="bgShp" presStyleIdx="4" presStyleCnt="7" custScaleY="151500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D114D602-97C4-4F4E-85C6-8EC0B97D38A5}" type="pres">
      <dgm:prSet presAssocID="{1EB4BC62-DA52-4EFC-9CA8-418C08D2348D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Judge"/>
        </a:ext>
      </dgm:extLst>
    </dgm:pt>
    <dgm:pt modelId="{F68ED1C6-C795-4016-B7C9-7ECEB42F8720}" type="pres">
      <dgm:prSet presAssocID="{1EB4BC62-DA52-4EFC-9CA8-418C08D2348D}" presName="spaceRect" presStyleCnt="0"/>
      <dgm:spPr/>
    </dgm:pt>
    <dgm:pt modelId="{01E7E8D9-EBEA-4B3C-B1F3-7D20DA711A7B}" type="pres">
      <dgm:prSet presAssocID="{1EB4BC62-DA52-4EFC-9CA8-418C08D2348D}" presName="parTx" presStyleLbl="revTx" presStyleIdx="4" presStyleCnt="7">
        <dgm:presLayoutVars>
          <dgm:chMax val="0"/>
          <dgm:chPref val="0"/>
        </dgm:presLayoutVars>
      </dgm:prSet>
      <dgm:spPr/>
    </dgm:pt>
    <dgm:pt modelId="{6D0477B7-4235-4AC0-8113-107D722676B1}" type="pres">
      <dgm:prSet presAssocID="{C9EFA232-B22D-4D18-BF81-0244D2085864}" presName="sibTrans" presStyleCnt="0"/>
      <dgm:spPr/>
    </dgm:pt>
    <dgm:pt modelId="{9953D956-CD16-4C82-BDAF-7032F64A9D82}" type="pres">
      <dgm:prSet presAssocID="{231A5E3E-BEAC-4643-AEC0-494E55F94A3B}" presName="compNode" presStyleCnt="0"/>
      <dgm:spPr/>
    </dgm:pt>
    <dgm:pt modelId="{82650058-36C7-4EF2-A510-6B2A3BC56CBA}" type="pres">
      <dgm:prSet presAssocID="{231A5E3E-BEAC-4643-AEC0-494E55F94A3B}" presName="bgRect" presStyleLbl="bgShp" presStyleIdx="5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72EC3DD-4747-4D08-8080-FEFD01566235}" type="pres">
      <dgm:prSet presAssocID="{231A5E3E-BEAC-4643-AEC0-494E55F94A3B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sconnected"/>
        </a:ext>
      </dgm:extLst>
    </dgm:pt>
    <dgm:pt modelId="{C07ACDF1-B1C1-4585-90B0-3E3EA7B79A09}" type="pres">
      <dgm:prSet presAssocID="{231A5E3E-BEAC-4643-AEC0-494E55F94A3B}" presName="spaceRect" presStyleCnt="0"/>
      <dgm:spPr/>
    </dgm:pt>
    <dgm:pt modelId="{1D5AEC99-75BD-4251-A255-724AD0F0A785}" type="pres">
      <dgm:prSet presAssocID="{231A5E3E-BEAC-4643-AEC0-494E55F94A3B}" presName="parTx" presStyleLbl="revTx" presStyleIdx="5" presStyleCnt="7">
        <dgm:presLayoutVars>
          <dgm:chMax val="0"/>
          <dgm:chPref val="0"/>
        </dgm:presLayoutVars>
      </dgm:prSet>
      <dgm:spPr/>
    </dgm:pt>
    <dgm:pt modelId="{0F635DEF-46EA-4A08-8E08-AA4EB08FB4FB}" type="pres">
      <dgm:prSet presAssocID="{8F061D4F-67C0-462D-98B5-6197DF537B08}" presName="sibTrans" presStyleCnt="0"/>
      <dgm:spPr/>
    </dgm:pt>
    <dgm:pt modelId="{BD66F62F-8C23-456A-8572-580B0566BB24}" type="pres">
      <dgm:prSet presAssocID="{66759DA8-7923-4702-8294-94150FFE7905}" presName="compNode" presStyleCnt="0"/>
      <dgm:spPr/>
    </dgm:pt>
    <dgm:pt modelId="{BE66F222-4B7E-4DCF-98CD-4A27921714C6}" type="pres">
      <dgm:prSet presAssocID="{66759DA8-7923-4702-8294-94150FFE7905}" presName="bgRect" presStyleLbl="bgShp" presStyleIdx="6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ABDFA904-3FD3-466E-BD6D-472D480E10CF}" type="pres">
      <dgm:prSet presAssocID="{66759DA8-7923-4702-8294-94150FFE7905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nger"/>
        </a:ext>
      </dgm:extLst>
    </dgm:pt>
    <dgm:pt modelId="{8FA247E0-6072-457B-89A1-DED4048B43F8}" type="pres">
      <dgm:prSet presAssocID="{66759DA8-7923-4702-8294-94150FFE7905}" presName="spaceRect" presStyleCnt="0"/>
      <dgm:spPr/>
    </dgm:pt>
    <dgm:pt modelId="{D7759015-1B81-45A3-B24B-BC9FC83003A9}" type="pres">
      <dgm:prSet presAssocID="{66759DA8-7923-4702-8294-94150FFE7905}" presName="parTx" presStyleLbl="revTx" presStyleIdx="6" presStyleCnt="7">
        <dgm:presLayoutVars>
          <dgm:chMax val="0"/>
          <dgm:chPref val="0"/>
        </dgm:presLayoutVars>
      </dgm:prSet>
      <dgm:spPr/>
    </dgm:pt>
  </dgm:ptLst>
  <dgm:cxnLst>
    <dgm:cxn modelId="{BA63C904-B0D0-44F1-8AC5-FD610CB8A833}" srcId="{847EA9A9-2A7E-4FE6-BE29-8DF151ECBC7E}" destId="{79707194-1D02-4749-851A-78251A8D6A8E}" srcOrd="0" destOrd="0" parTransId="{B397E0D1-58FC-466E-A76A-0F9A90D32313}" sibTransId="{CE8F1689-E460-49B6-A0B4-2F42C7441D1E}"/>
    <dgm:cxn modelId="{5D4DD914-4FB5-40AA-93C9-0A774C6991C6}" type="presOf" srcId="{1EB4BC62-DA52-4EFC-9CA8-418C08D2348D}" destId="{01E7E8D9-EBEA-4B3C-B1F3-7D20DA711A7B}" srcOrd="0" destOrd="0" presId="urn:microsoft.com/office/officeart/2018/2/layout/IconVerticalSolidList"/>
    <dgm:cxn modelId="{B06AA12F-CFC2-409F-B903-6F608E9BEA1E}" type="presOf" srcId="{49DA00EC-20E3-4959-92DB-5FE0DB4E1078}" destId="{CDB89971-F98F-4B5E-A3E6-D8B427874E72}" srcOrd="0" destOrd="0" presId="urn:microsoft.com/office/officeart/2018/2/layout/IconVerticalSolidList"/>
    <dgm:cxn modelId="{ECC8DC35-F80F-434A-A703-5F1F02FA020D}" srcId="{847EA9A9-2A7E-4FE6-BE29-8DF151ECBC7E}" destId="{66759DA8-7923-4702-8294-94150FFE7905}" srcOrd="6" destOrd="0" parTransId="{8CE7926D-684E-4318-8AD1-74B82DCD2295}" sibTransId="{94499F2B-AD42-41F6-B221-73712FCD1BC6}"/>
    <dgm:cxn modelId="{0AF4673E-006B-4A8C-BA3A-9E7E558E2D7A}" type="presOf" srcId="{231A5E3E-BEAC-4643-AEC0-494E55F94A3B}" destId="{1D5AEC99-75BD-4251-A255-724AD0F0A785}" srcOrd="0" destOrd="0" presId="urn:microsoft.com/office/officeart/2018/2/layout/IconVerticalSolidList"/>
    <dgm:cxn modelId="{FF5CD561-7E27-4C70-89D3-7F7B8F03EADC}" srcId="{847EA9A9-2A7E-4FE6-BE29-8DF151ECBC7E}" destId="{1EB4BC62-DA52-4EFC-9CA8-418C08D2348D}" srcOrd="4" destOrd="0" parTransId="{5ADD28B4-A80F-4093-AC94-16D6D563B90B}" sibTransId="{C9EFA232-B22D-4D18-BF81-0244D2085864}"/>
    <dgm:cxn modelId="{CD2D5D63-B0D6-4C01-B62E-758AA573EB64}" srcId="{847EA9A9-2A7E-4FE6-BE29-8DF151ECBC7E}" destId="{49DA00EC-20E3-4959-92DB-5FE0DB4E1078}" srcOrd="3" destOrd="0" parTransId="{ADCB2420-3E8D-4D10-815F-BFB534DBDEEC}" sibTransId="{1407D1F4-DC74-4D0C-B033-11CE032EE418}"/>
    <dgm:cxn modelId="{F7BB4E46-D576-4C19-9F2C-2D43503AC6B1}" srcId="{847EA9A9-2A7E-4FE6-BE29-8DF151ECBC7E}" destId="{0C3E5329-EB5E-4889-9701-0849A8CD9D82}" srcOrd="2" destOrd="0" parTransId="{4F78A490-1C23-4BBF-8016-997EFAAE478F}" sibTransId="{1E1AEB77-E215-409E-B983-A154334C1190}"/>
    <dgm:cxn modelId="{383B64BC-27A6-4D02-9410-7C571799E46B}" type="presOf" srcId="{0C3E5329-EB5E-4889-9701-0849A8CD9D82}" destId="{635091B8-29C0-4ABE-8DEC-334A61052E0C}" srcOrd="0" destOrd="0" presId="urn:microsoft.com/office/officeart/2018/2/layout/IconVerticalSolidList"/>
    <dgm:cxn modelId="{AE45DBBD-98FE-498A-85AB-1C4337DB4A94}" type="presOf" srcId="{79707194-1D02-4749-851A-78251A8D6A8E}" destId="{DCAD54F1-4A2A-422E-A86B-590182CAB8AA}" srcOrd="0" destOrd="0" presId="urn:microsoft.com/office/officeart/2018/2/layout/IconVerticalSolidList"/>
    <dgm:cxn modelId="{9AE1EDCA-3B41-4E11-B965-B15FD948499E}" type="presOf" srcId="{66759DA8-7923-4702-8294-94150FFE7905}" destId="{D7759015-1B81-45A3-B24B-BC9FC83003A9}" srcOrd="0" destOrd="0" presId="urn:microsoft.com/office/officeart/2018/2/layout/IconVerticalSolidList"/>
    <dgm:cxn modelId="{20E059CB-25C7-467B-9AC6-41E1AC01F744}" type="presOf" srcId="{847EA9A9-2A7E-4FE6-BE29-8DF151ECBC7E}" destId="{41503E0F-AB6D-4568-9453-ABA59B82A4CC}" srcOrd="0" destOrd="0" presId="urn:microsoft.com/office/officeart/2018/2/layout/IconVerticalSolidList"/>
    <dgm:cxn modelId="{81E619CD-C1A6-41CB-91E1-7483ECBFFDBC}" srcId="{847EA9A9-2A7E-4FE6-BE29-8DF151ECBC7E}" destId="{231A5E3E-BEAC-4643-AEC0-494E55F94A3B}" srcOrd="5" destOrd="0" parTransId="{2BC36E68-80C0-47FE-9E60-1D6E80AC1868}" sibTransId="{8F061D4F-67C0-462D-98B5-6197DF537B08}"/>
    <dgm:cxn modelId="{4AD56BDA-EC65-455C-9B88-514889A820DE}" srcId="{847EA9A9-2A7E-4FE6-BE29-8DF151ECBC7E}" destId="{75B6AE6A-9B0F-4ADC-B232-83EB04025669}" srcOrd="1" destOrd="0" parTransId="{AC4E4FE5-E6E9-4735-AABB-0C6819A38BD3}" sibTransId="{55B0ED60-47A9-4C9D-BED3-2A9BE70A9BE5}"/>
    <dgm:cxn modelId="{130C08F4-2843-43D5-B5E2-D4F5DE8D5165}" type="presOf" srcId="{75B6AE6A-9B0F-4ADC-B232-83EB04025669}" destId="{A97B8EB0-C577-4054-84C1-818EA38BF5B9}" srcOrd="0" destOrd="0" presId="urn:microsoft.com/office/officeart/2018/2/layout/IconVerticalSolidList"/>
    <dgm:cxn modelId="{2A8CF9B5-605B-49F1-B581-242D2D97692E}" type="presParOf" srcId="{41503E0F-AB6D-4568-9453-ABA59B82A4CC}" destId="{818C0BB3-442E-42EB-B956-37DA187B65FF}" srcOrd="0" destOrd="0" presId="urn:microsoft.com/office/officeart/2018/2/layout/IconVerticalSolidList"/>
    <dgm:cxn modelId="{DA415D8C-A372-46F4-9741-974EF722790E}" type="presParOf" srcId="{818C0BB3-442E-42EB-B956-37DA187B65FF}" destId="{52A512D9-B40D-47F9-A846-C726F51B1EC6}" srcOrd="0" destOrd="0" presId="urn:microsoft.com/office/officeart/2018/2/layout/IconVerticalSolidList"/>
    <dgm:cxn modelId="{4753C908-6E48-42F3-B609-D3BDD06BF7B3}" type="presParOf" srcId="{818C0BB3-442E-42EB-B956-37DA187B65FF}" destId="{CA508474-D63E-4A16-9167-594C791466C4}" srcOrd="1" destOrd="0" presId="urn:microsoft.com/office/officeart/2018/2/layout/IconVerticalSolidList"/>
    <dgm:cxn modelId="{DA6B41D5-FE6C-4143-9707-A780CD6E97B9}" type="presParOf" srcId="{818C0BB3-442E-42EB-B956-37DA187B65FF}" destId="{58DC08D3-6ECA-4AC7-A6C4-0D833EF8AF69}" srcOrd="2" destOrd="0" presId="urn:microsoft.com/office/officeart/2018/2/layout/IconVerticalSolidList"/>
    <dgm:cxn modelId="{71419C11-15D9-46E5-A0BA-D1CE7FC20C3E}" type="presParOf" srcId="{818C0BB3-442E-42EB-B956-37DA187B65FF}" destId="{DCAD54F1-4A2A-422E-A86B-590182CAB8AA}" srcOrd="3" destOrd="0" presId="urn:microsoft.com/office/officeart/2018/2/layout/IconVerticalSolidList"/>
    <dgm:cxn modelId="{5EB8564E-7E81-461A-BA5F-D4004690DA3E}" type="presParOf" srcId="{41503E0F-AB6D-4568-9453-ABA59B82A4CC}" destId="{446014D1-B799-4496-B82A-4DBBC3131499}" srcOrd="1" destOrd="0" presId="urn:microsoft.com/office/officeart/2018/2/layout/IconVerticalSolidList"/>
    <dgm:cxn modelId="{B0BAF80A-0D9D-4FCC-95D6-72A5B25FA31E}" type="presParOf" srcId="{41503E0F-AB6D-4568-9453-ABA59B82A4CC}" destId="{4FFB4288-2951-440D-A775-60785C73E6AA}" srcOrd="2" destOrd="0" presId="urn:microsoft.com/office/officeart/2018/2/layout/IconVerticalSolidList"/>
    <dgm:cxn modelId="{5B1FE668-B109-4FA8-A6B9-A38FF5512034}" type="presParOf" srcId="{4FFB4288-2951-440D-A775-60785C73E6AA}" destId="{02EE004D-26FC-47D1-8269-69D20901CA23}" srcOrd="0" destOrd="0" presId="urn:microsoft.com/office/officeart/2018/2/layout/IconVerticalSolidList"/>
    <dgm:cxn modelId="{30B2BABE-2321-4960-B9EA-6BCA93CF20EA}" type="presParOf" srcId="{4FFB4288-2951-440D-A775-60785C73E6AA}" destId="{9E412361-0DD8-455E-ABDC-E515BF65EB9D}" srcOrd="1" destOrd="0" presId="urn:microsoft.com/office/officeart/2018/2/layout/IconVerticalSolidList"/>
    <dgm:cxn modelId="{985E7DFD-26AD-43F1-9369-560709F5527C}" type="presParOf" srcId="{4FFB4288-2951-440D-A775-60785C73E6AA}" destId="{C21354FB-AD36-42B0-93BE-5F83ED150F04}" srcOrd="2" destOrd="0" presId="urn:microsoft.com/office/officeart/2018/2/layout/IconVerticalSolidList"/>
    <dgm:cxn modelId="{A4CEDE7D-7C68-4621-8956-6C00C5F68610}" type="presParOf" srcId="{4FFB4288-2951-440D-A775-60785C73E6AA}" destId="{A97B8EB0-C577-4054-84C1-818EA38BF5B9}" srcOrd="3" destOrd="0" presId="urn:microsoft.com/office/officeart/2018/2/layout/IconVerticalSolidList"/>
    <dgm:cxn modelId="{57034114-2D69-420E-B2BE-AAB534F9B11C}" type="presParOf" srcId="{41503E0F-AB6D-4568-9453-ABA59B82A4CC}" destId="{9D06C7C4-FB12-4400-9E9F-3C637653350D}" srcOrd="3" destOrd="0" presId="urn:microsoft.com/office/officeart/2018/2/layout/IconVerticalSolidList"/>
    <dgm:cxn modelId="{7540455B-962D-4224-B027-37C52D769711}" type="presParOf" srcId="{41503E0F-AB6D-4568-9453-ABA59B82A4CC}" destId="{40ADC1F3-7B7B-415D-B1A9-2DD20BC18B22}" srcOrd="4" destOrd="0" presId="urn:microsoft.com/office/officeart/2018/2/layout/IconVerticalSolidList"/>
    <dgm:cxn modelId="{88D310D8-25D7-4460-A51A-317E6EC8C69C}" type="presParOf" srcId="{40ADC1F3-7B7B-415D-B1A9-2DD20BC18B22}" destId="{3951A61D-F069-4616-989D-20A828000FE1}" srcOrd="0" destOrd="0" presId="urn:microsoft.com/office/officeart/2018/2/layout/IconVerticalSolidList"/>
    <dgm:cxn modelId="{3E920534-E21B-4DE6-BADB-8DF17E3B9FF7}" type="presParOf" srcId="{40ADC1F3-7B7B-415D-B1A9-2DD20BC18B22}" destId="{B2C44930-8854-438D-90B1-22C51B82B008}" srcOrd="1" destOrd="0" presId="urn:microsoft.com/office/officeart/2018/2/layout/IconVerticalSolidList"/>
    <dgm:cxn modelId="{0B698EB7-4BF4-488C-9DFF-F7865FE49533}" type="presParOf" srcId="{40ADC1F3-7B7B-415D-B1A9-2DD20BC18B22}" destId="{BFF2EDA0-9815-4D23-9634-A8908693BE85}" srcOrd="2" destOrd="0" presId="urn:microsoft.com/office/officeart/2018/2/layout/IconVerticalSolidList"/>
    <dgm:cxn modelId="{D7985A1E-5050-4A29-8439-E778596BBD4D}" type="presParOf" srcId="{40ADC1F3-7B7B-415D-B1A9-2DD20BC18B22}" destId="{635091B8-29C0-4ABE-8DEC-334A61052E0C}" srcOrd="3" destOrd="0" presId="urn:microsoft.com/office/officeart/2018/2/layout/IconVerticalSolidList"/>
    <dgm:cxn modelId="{02DAE565-DBB5-42D4-B373-8DE79B3DC36E}" type="presParOf" srcId="{41503E0F-AB6D-4568-9453-ABA59B82A4CC}" destId="{935AB0F7-C73A-4D15-9A92-396AE39B2FBF}" srcOrd="5" destOrd="0" presId="urn:microsoft.com/office/officeart/2018/2/layout/IconVerticalSolidList"/>
    <dgm:cxn modelId="{A2CE91D0-A929-4E6D-B2A6-9E2D5ED475DE}" type="presParOf" srcId="{41503E0F-AB6D-4568-9453-ABA59B82A4CC}" destId="{5668A616-B452-4CEF-8524-26589C63C0B2}" srcOrd="6" destOrd="0" presId="urn:microsoft.com/office/officeart/2018/2/layout/IconVerticalSolidList"/>
    <dgm:cxn modelId="{B1326FA4-076C-43E7-875E-1F8DA6B37868}" type="presParOf" srcId="{5668A616-B452-4CEF-8524-26589C63C0B2}" destId="{2B9FBFC2-2DA2-4537-8E9D-0102188BB8DA}" srcOrd="0" destOrd="0" presId="urn:microsoft.com/office/officeart/2018/2/layout/IconVerticalSolidList"/>
    <dgm:cxn modelId="{E2283F60-FF62-4073-BDBB-33A595BC6A84}" type="presParOf" srcId="{5668A616-B452-4CEF-8524-26589C63C0B2}" destId="{098824A6-FCA5-4A1B-9C93-02EBF6CE40C2}" srcOrd="1" destOrd="0" presId="urn:microsoft.com/office/officeart/2018/2/layout/IconVerticalSolidList"/>
    <dgm:cxn modelId="{28743B12-120B-4B47-8D45-D653350F9D70}" type="presParOf" srcId="{5668A616-B452-4CEF-8524-26589C63C0B2}" destId="{73A4532D-A95C-4D67-8544-DF90B65AF08C}" srcOrd="2" destOrd="0" presId="urn:microsoft.com/office/officeart/2018/2/layout/IconVerticalSolidList"/>
    <dgm:cxn modelId="{494DC379-1575-4BBE-BE42-F9DEF23454F2}" type="presParOf" srcId="{5668A616-B452-4CEF-8524-26589C63C0B2}" destId="{CDB89971-F98F-4B5E-A3E6-D8B427874E72}" srcOrd="3" destOrd="0" presId="urn:microsoft.com/office/officeart/2018/2/layout/IconVerticalSolidList"/>
    <dgm:cxn modelId="{2127F2B2-2BB7-4C5E-8510-9668CAFCA96A}" type="presParOf" srcId="{41503E0F-AB6D-4568-9453-ABA59B82A4CC}" destId="{C8798EC8-CDEE-4D35-BD8F-FAC6BDEAA192}" srcOrd="7" destOrd="0" presId="urn:microsoft.com/office/officeart/2018/2/layout/IconVerticalSolidList"/>
    <dgm:cxn modelId="{B7C3AF0F-010C-4475-BEC5-AC671FE0DF90}" type="presParOf" srcId="{41503E0F-AB6D-4568-9453-ABA59B82A4CC}" destId="{4729E7F1-7AFB-47B7-90AD-2020F44037FA}" srcOrd="8" destOrd="0" presId="urn:microsoft.com/office/officeart/2018/2/layout/IconVerticalSolidList"/>
    <dgm:cxn modelId="{BEA06884-4DDC-4B84-8E35-366C2861C3EE}" type="presParOf" srcId="{4729E7F1-7AFB-47B7-90AD-2020F44037FA}" destId="{5A0D2530-66A5-456F-BF2D-18FEAD527C88}" srcOrd="0" destOrd="0" presId="urn:microsoft.com/office/officeart/2018/2/layout/IconVerticalSolidList"/>
    <dgm:cxn modelId="{934BC628-D234-4A80-97CC-391538A4C29D}" type="presParOf" srcId="{4729E7F1-7AFB-47B7-90AD-2020F44037FA}" destId="{D114D602-97C4-4F4E-85C6-8EC0B97D38A5}" srcOrd="1" destOrd="0" presId="urn:microsoft.com/office/officeart/2018/2/layout/IconVerticalSolidList"/>
    <dgm:cxn modelId="{82DF93B4-4BC3-474F-91E1-FEE91AB14C82}" type="presParOf" srcId="{4729E7F1-7AFB-47B7-90AD-2020F44037FA}" destId="{F68ED1C6-C795-4016-B7C9-7ECEB42F8720}" srcOrd="2" destOrd="0" presId="urn:microsoft.com/office/officeart/2018/2/layout/IconVerticalSolidList"/>
    <dgm:cxn modelId="{1D378947-01FF-4EB7-A443-79E26E9CB72F}" type="presParOf" srcId="{4729E7F1-7AFB-47B7-90AD-2020F44037FA}" destId="{01E7E8D9-EBEA-4B3C-B1F3-7D20DA711A7B}" srcOrd="3" destOrd="0" presId="urn:microsoft.com/office/officeart/2018/2/layout/IconVerticalSolidList"/>
    <dgm:cxn modelId="{475C3CDA-39C8-4816-9733-06FF11B72139}" type="presParOf" srcId="{41503E0F-AB6D-4568-9453-ABA59B82A4CC}" destId="{6D0477B7-4235-4AC0-8113-107D722676B1}" srcOrd="9" destOrd="0" presId="urn:microsoft.com/office/officeart/2018/2/layout/IconVerticalSolidList"/>
    <dgm:cxn modelId="{FCE4A9E2-A892-485B-80D7-D6A74700DB71}" type="presParOf" srcId="{41503E0F-AB6D-4568-9453-ABA59B82A4CC}" destId="{9953D956-CD16-4C82-BDAF-7032F64A9D82}" srcOrd="10" destOrd="0" presId="urn:microsoft.com/office/officeart/2018/2/layout/IconVerticalSolidList"/>
    <dgm:cxn modelId="{FE8668B1-7807-47D5-B304-B00E317BAA1C}" type="presParOf" srcId="{9953D956-CD16-4C82-BDAF-7032F64A9D82}" destId="{82650058-36C7-4EF2-A510-6B2A3BC56CBA}" srcOrd="0" destOrd="0" presId="urn:microsoft.com/office/officeart/2018/2/layout/IconVerticalSolidList"/>
    <dgm:cxn modelId="{A30FAD8E-4D45-4466-906B-C374C70F88EA}" type="presParOf" srcId="{9953D956-CD16-4C82-BDAF-7032F64A9D82}" destId="{572EC3DD-4747-4D08-8080-FEFD01566235}" srcOrd="1" destOrd="0" presId="urn:microsoft.com/office/officeart/2018/2/layout/IconVerticalSolidList"/>
    <dgm:cxn modelId="{CDC1558E-C113-4779-B06D-C8A96FD199E0}" type="presParOf" srcId="{9953D956-CD16-4C82-BDAF-7032F64A9D82}" destId="{C07ACDF1-B1C1-4585-90B0-3E3EA7B79A09}" srcOrd="2" destOrd="0" presId="urn:microsoft.com/office/officeart/2018/2/layout/IconVerticalSolidList"/>
    <dgm:cxn modelId="{CC40137D-02CB-46F2-8E68-312A006AB4EF}" type="presParOf" srcId="{9953D956-CD16-4C82-BDAF-7032F64A9D82}" destId="{1D5AEC99-75BD-4251-A255-724AD0F0A785}" srcOrd="3" destOrd="0" presId="urn:microsoft.com/office/officeart/2018/2/layout/IconVerticalSolidList"/>
    <dgm:cxn modelId="{F3BB74B2-DA24-4E26-81C1-1DD2199D56C7}" type="presParOf" srcId="{41503E0F-AB6D-4568-9453-ABA59B82A4CC}" destId="{0F635DEF-46EA-4A08-8E08-AA4EB08FB4FB}" srcOrd="11" destOrd="0" presId="urn:microsoft.com/office/officeart/2018/2/layout/IconVerticalSolidList"/>
    <dgm:cxn modelId="{36A78B38-02C5-4FCF-9962-632EE08A72CA}" type="presParOf" srcId="{41503E0F-AB6D-4568-9453-ABA59B82A4CC}" destId="{BD66F62F-8C23-456A-8572-580B0566BB24}" srcOrd="12" destOrd="0" presId="urn:microsoft.com/office/officeart/2018/2/layout/IconVerticalSolidList"/>
    <dgm:cxn modelId="{60075DAB-7CEC-40DA-9C8B-3ECE6626C8F8}" type="presParOf" srcId="{BD66F62F-8C23-456A-8572-580B0566BB24}" destId="{BE66F222-4B7E-4DCF-98CD-4A27921714C6}" srcOrd="0" destOrd="0" presId="urn:microsoft.com/office/officeart/2018/2/layout/IconVerticalSolidList"/>
    <dgm:cxn modelId="{9D8CB5AE-B61D-45AB-9F12-DFDE1D7A4F0E}" type="presParOf" srcId="{BD66F62F-8C23-456A-8572-580B0566BB24}" destId="{ABDFA904-3FD3-466E-BD6D-472D480E10CF}" srcOrd="1" destOrd="0" presId="urn:microsoft.com/office/officeart/2018/2/layout/IconVerticalSolidList"/>
    <dgm:cxn modelId="{949F54CD-3637-4232-8A2C-4B2E48B2DB44}" type="presParOf" srcId="{BD66F62F-8C23-456A-8572-580B0566BB24}" destId="{8FA247E0-6072-457B-89A1-DED4048B43F8}" srcOrd="2" destOrd="0" presId="urn:microsoft.com/office/officeart/2018/2/layout/IconVerticalSolidList"/>
    <dgm:cxn modelId="{AD6229FF-CE3D-459C-BF08-7F3A32D472EB}" type="presParOf" srcId="{BD66F62F-8C23-456A-8572-580B0566BB24}" destId="{D7759015-1B81-45A3-B24B-BC9FC83003A9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B06EB90-98C5-4859-922A-0B07742D82AD}" type="doc">
      <dgm:prSet loTypeId="urn:microsoft.com/office/officeart/2005/8/layout/hList1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FD113CBC-AF41-4DDD-A93A-E07E64820BFB}" type="parTrans" cxnId="{F18BE438-4859-4F5E-B394-087BCE0F7E55}">
      <dgm:prSet/>
      <dgm:spPr/>
      <dgm:t>
        <a:bodyPr/>
        <a:lstStyle/>
        <a:p>
          <a:endParaRPr lang="en-GB"/>
        </a:p>
      </dgm:t>
    </dgm:pt>
    <dgm:pt modelId="{C29D6BEC-58D3-4007-A770-E0D07CF2E858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olestowanie w miejscu pracy</a:t>
          </a:r>
          <a:endParaRPr lang="en-GB"/>
        </a:p>
      </dgm:t>
    </dgm:pt>
    <dgm:pt modelId="{E4D8EC6F-60EA-4903-9AE3-265F0EC19DDD}" type="parTrans" cxnId="{876FD671-B34A-4313-9ED6-E0C02ED0C53F}">
      <dgm:prSet/>
      <dgm:spPr/>
      <dgm:t>
        <a:bodyPr/>
        <a:lstStyle/>
        <a:p>
          <a:endParaRPr lang="en-GB"/>
        </a:p>
      </dgm:t>
    </dgm:pt>
    <dgm:pt modelId="{F6E8E447-F8CD-43F1-87DE-F74AE20E1C91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pl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Niepożądane lub obraźliwe zachowanie oparte na </a:t>
          </a:r>
          <a:r>
            <a:rPr lang="pl" sz="2100" b="0" i="1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jakiejkolwiek </a:t>
          </a:r>
          <a:r>
            <a:rPr lang="pl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hronionej podstawie.</a:t>
          </a:r>
        </a:p>
      </dgm:t>
    </dgm:pt>
    <dgm:pt modelId="{21C90245-59AD-4456-922C-A50A5148DBF2}" type="sibTrans" cxnId="{876FD671-B34A-4313-9ED6-E0C02ED0C53F}">
      <dgm:prSet/>
      <dgm:spPr/>
      <dgm:t>
        <a:bodyPr/>
        <a:lstStyle/>
        <a:p>
          <a:endParaRPr lang="en-GB"/>
        </a:p>
      </dgm:t>
    </dgm:pt>
    <dgm:pt modelId="{234ECDCA-080C-43A2-ACFE-8CED12658805}" type="sibTrans" cxnId="{F18BE438-4859-4F5E-B394-087BCE0F7E55}">
      <dgm:prSet/>
      <dgm:spPr/>
      <dgm:t>
        <a:bodyPr/>
        <a:lstStyle/>
        <a:p>
          <a:endParaRPr lang="en-GB"/>
        </a:p>
      </dgm:t>
    </dgm:pt>
    <dgm:pt modelId="{5826039D-93BE-4C3C-BF14-BA91B7E8A1CC}" type="parTrans" cxnId="{3F7870E2-F2AC-43A0-8445-8527441D250B}">
      <dgm:prSet/>
      <dgm:spPr/>
      <dgm:t>
        <a:bodyPr/>
        <a:lstStyle/>
        <a:p>
          <a:endParaRPr lang="en-GB"/>
        </a:p>
      </dgm:t>
    </dgm:pt>
    <dgm:pt modelId="{2DC141A4-B592-435C-823C-677788188CBD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ziemienie chronione</a:t>
          </a:r>
          <a:endParaRPr lang="en-GB"/>
        </a:p>
      </dgm:t>
    </dgm:pt>
    <dgm:pt modelId="{6673230B-FBEF-4439-B2A7-4E383CCD7B9A}" type="parTrans" cxnId="{71BBE94D-5FDE-4ED5-A719-CECE4435B6CC}">
      <dgm:prSet/>
      <dgm:spPr/>
      <dgm:t>
        <a:bodyPr/>
        <a:lstStyle/>
        <a:p>
          <a:endParaRPr lang="en-GB"/>
        </a:p>
      </dgm:t>
    </dgm:pt>
    <dgm:pt modelId="{223E87BF-8BFA-4539-B616-ECF59C7A60AB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pl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echy osobiste, które nie mogą wpływać na decyzje związane z zatrudnieniem lub zatrudnieniem. </a:t>
          </a:r>
        </a:p>
      </dgm:t>
    </dgm:pt>
    <dgm:pt modelId="{4BBBD690-4134-49AB-AC0C-39A005EB0B05}" type="sibTrans" cxnId="{71BBE94D-5FDE-4ED5-A719-CECE4435B6CC}">
      <dgm:prSet/>
      <dgm:spPr/>
      <dgm:t>
        <a:bodyPr/>
        <a:lstStyle/>
        <a:p>
          <a:endParaRPr lang="en-GB"/>
        </a:p>
      </dgm:t>
    </dgm:pt>
    <dgm:pt modelId="{6BB0F509-FF30-4DCA-9060-AF24BAB8AA60}" type="parTrans" cxnId="{74DF9EE3-3F08-4621-8D5B-10F3009BA0AF}">
      <dgm:prSet/>
      <dgm:spPr/>
      <dgm:t>
        <a:bodyPr/>
        <a:lstStyle/>
        <a:p>
          <a:endParaRPr lang="en-GB"/>
        </a:p>
      </dgm:t>
    </dgm:pt>
    <dgm:pt modelId="{7D531FA8-26FB-40E8-8E51-E296BACB2531}">
      <dgm:prSet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lnSpc>
              <a:spcPct val="100000"/>
            </a:lnSpc>
          </a:pPr>
          <a:r>
            <a:rPr lang="pl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Ludzie mogą mieć więcej niż jedną chronioną podstawę</a:t>
          </a:r>
        </a:p>
      </dgm:t>
    </dgm:pt>
    <dgm:pt modelId="{E3D22D90-1931-4C1B-AA8B-D22F38EAF7EE}" type="sibTrans" cxnId="{74DF9EE3-3F08-4621-8D5B-10F3009BA0AF}">
      <dgm:prSet/>
      <dgm:spPr/>
      <dgm:t>
        <a:bodyPr/>
        <a:lstStyle/>
        <a:p>
          <a:endParaRPr lang="en-GB"/>
        </a:p>
      </dgm:t>
    </dgm:pt>
    <dgm:pt modelId="{C216D1D6-3A84-44F9-B1FF-E74F77D90E6D}" type="sibTrans" cxnId="{3F7870E2-F2AC-43A0-8445-8527441D250B}">
      <dgm:prSet/>
      <dgm:spPr/>
      <dgm:t>
        <a:bodyPr/>
        <a:lstStyle/>
        <a:p>
          <a:endParaRPr lang="en-GB"/>
        </a:p>
      </dgm:t>
    </dgm:pt>
    <dgm:pt modelId="{B714127B-1401-4012-8F90-450026D014FF}" type="parTrans" cxnId="{287E1C32-15FC-4492-9A12-A2153FF26D86}">
      <dgm:prSet/>
      <dgm:spPr/>
      <dgm:t>
        <a:bodyPr/>
        <a:lstStyle/>
        <a:p>
          <a:endParaRPr lang="en-GB"/>
        </a:p>
      </dgm:t>
    </dgm:pt>
    <dgm:pt modelId="{4488291A-BD94-4685-A34F-B885F3B8EFAD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Zachowanie w przekroju</a:t>
          </a:r>
          <a:endParaRPr lang="en-GB"/>
        </a:p>
      </dgm:t>
    </dgm:pt>
    <dgm:pt modelId="{4B04EFF0-8494-45E6-8388-35E677B94DE7}" type="parTrans" cxnId="{881A1FBB-F8B5-42D1-82DD-17C06A1671CC}">
      <dgm:prSet/>
      <dgm:spPr/>
      <dgm:t>
        <a:bodyPr/>
        <a:lstStyle/>
        <a:p>
          <a:endParaRPr lang="en-GB"/>
        </a:p>
      </dgm:t>
    </dgm:pt>
    <dgm:pt modelId="{2C970401-B79F-44D8-840F-AFC1E28EEAE5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pl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Niewłaściwe postępowanie ukierunkowane na więcej niż jedną chronioną powierzchnię.</a:t>
          </a:r>
        </a:p>
      </dgm:t>
    </dgm:pt>
    <dgm:pt modelId="{7A00C314-1333-4C01-ACD9-D8DA13F98F78}" type="sibTrans" cxnId="{881A1FBB-F8B5-42D1-82DD-17C06A1671CC}">
      <dgm:prSet/>
      <dgm:spPr/>
      <dgm:t>
        <a:bodyPr/>
        <a:lstStyle/>
        <a:p>
          <a:endParaRPr lang="en-GB"/>
        </a:p>
      </dgm:t>
    </dgm:pt>
    <dgm:pt modelId="{746779FD-0831-4795-B732-3F2981C93DCE}" type="parTrans" cxnId="{292D91BA-AB33-4CFB-9B48-8D22F5C1C0B6}">
      <dgm:prSet/>
      <dgm:spPr/>
      <dgm:t>
        <a:bodyPr/>
        <a:lstStyle/>
        <a:p>
          <a:endParaRPr lang="en-GB"/>
        </a:p>
      </dgm:t>
    </dgm:pt>
    <dgm:pt modelId="{D4BEA0F3-CE19-48A9-A8C5-5635AF03EA29}">
      <dgm:prSet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lnSpc>
              <a:spcPct val="100000"/>
            </a:lnSpc>
            <a:buNone/>
          </a:pPr>
          <a:endParaRPr lang="en-GB"/>
        </a:p>
      </dgm:t>
    </dgm:pt>
    <dgm:pt modelId="{39491536-F75E-4C10-899B-200BA7EC66DC}" type="sibTrans" cxnId="{292D91BA-AB33-4CFB-9B48-8D22F5C1C0B6}">
      <dgm:prSet/>
      <dgm:spPr/>
      <dgm:t>
        <a:bodyPr/>
        <a:lstStyle/>
        <a:p>
          <a:endParaRPr lang="en-GB"/>
        </a:p>
      </dgm:t>
    </dgm:pt>
    <dgm:pt modelId="{8656FD64-C920-4C1A-B228-DDB0A8E05BB7}" type="sibTrans" cxnId="{287E1C32-15FC-4492-9A12-A2153FF26D86}">
      <dgm:prSet/>
      <dgm:spPr/>
      <dgm:t>
        <a:bodyPr/>
        <a:lstStyle/>
        <a:p>
          <a:endParaRPr lang="en-GB"/>
        </a:p>
      </dgm:t>
    </dgm:pt>
    <dgm:pt modelId="{0FEB684E-E113-451E-B492-3E45F5FEF5C1}" type="pres">
      <dgm:prSet presAssocID="{5B06EB90-98C5-4859-922A-0B07742D82AD}" presName="Name0" presStyleCnt="0">
        <dgm:presLayoutVars>
          <dgm:dir/>
          <dgm:animLvl val="lvl"/>
          <dgm:resizeHandles val="exact"/>
        </dgm:presLayoutVars>
      </dgm:prSet>
      <dgm:spPr/>
    </dgm:pt>
    <dgm:pt modelId="{17481383-1DBB-4595-AEFE-D8D1DA23F699}" type="pres">
      <dgm:prSet presAssocID="{C29D6BEC-58D3-4007-A770-E0D07CF2E858}" presName="composite" presStyleCnt="0"/>
      <dgm:spPr/>
    </dgm:pt>
    <dgm:pt modelId="{B77136BE-66B6-43CA-ABD3-5EC058011C77}" type="pres">
      <dgm:prSet presAssocID="{C29D6BEC-58D3-4007-A770-E0D07CF2E85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5A01AD50-A4BE-433F-882C-7262AEE7DECE}" type="pres">
      <dgm:prSet presAssocID="{C29D6BEC-58D3-4007-A770-E0D07CF2E858}" presName="desTx" presStyleLbl="alignAccFollowNode1" presStyleIdx="0" presStyleCnt="3">
        <dgm:presLayoutVars>
          <dgm:bulletEnabled val="1"/>
        </dgm:presLayoutVars>
      </dgm:prSet>
      <dgm:spPr/>
    </dgm:pt>
    <dgm:pt modelId="{60AC7C03-037F-4D1B-9634-D54EE3C5640B}" type="pres">
      <dgm:prSet presAssocID="{234ECDCA-080C-43A2-ACFE-8CED12658805}" presName="space" presStyleCnt="0"/>
      <dgm:spPr/>
    </dgm:pt>
    <dgm:pt modelId="{ECE42E4D-E658-4135-AE0B-4C8C74A989ED}" type="pres">
      <dgm:prSet presAssocID="{2DC141A4-B592-435C-823C-677788188CBD}" presName="composite" presStyleCnt="0"/>
      <dgm:spPr/>
    </dgm:pt>
    <dgm:pt modelId="{88EAAD68-E779-4ABE-A5DA-0983BBEBC27F}" type="pres">
      <dgm:prSet presAssocID="{2DC141A4-B592-435C-823C-677788188CBD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E09FF709-B9A1-467B-BBF8-2127A63B2EF3}" type="pres">
      <dgm:prSet presAssocID="{2DC141A4-B592-435C-823C-677788188CBD}" presName="desTx" presStyleLbl="alignAccFollowNode1" presStyleIdx="1" presStyleCnt="3">
        <dgm:presLayoutVars>
          <dgm:bulletEnabled val="1"/>
        </dgm:presLayoutVars>
      </dgm:prSet>
      <dgm:spPr/>
    </dgm:pt>
    <dgm:pt modelId="{9C741542-FC0D-4FA2-8EF6-9DC8D76C0ADD}" type="pres">
      <dgm:prSet presAssocID="{C216D1D6-3A84-44F9-B1FF-E74F77D90E6D}" presName="space" presStyleCnt="0"/>
      <dgm:spPr/>
    </dgm:pt>
    <dgm:pt modelId="{16AA0DCF-6F46-4C2E-80CE-761D09CFA840}" type="pres">
      <dgm:prSet presAssocID="{4488291A-BD94-4685-A34F-B885F3B8EFAD}" presName="composite" presStyleCnt="0"/>
      <dgm:spPr/>
    </dgm:pt>
    <dgm:pt modelId="{F96EBAB5-2385-44A0-9DAE-378482389753}" type="pres">
      <dgm:prSet presAssocID="{4488291A-BD94-4685-A34F-B885F3B8EFA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205221B7-809E-408A-8761-924C5606E944}" type="pres">
      <dgm:prSet presAssocID="{4488291A-BD94-4685-A34F-B885F3B8EFAD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97E27109-D35E-4AC7-A79B-03EEE7F77024}" type="presOf" srcId="{F6E8E447-F8CD-43F1-87DE-F74AE20E1C91}" destId="{5A01AD50-A4BE-433F-882C-7262AEE7DECE}" srcOrd="0" destOrd="0" presId="urn:microsoft.com/office/officeart/2005/8/layout/hList1"/>
    <dgm:cxn modelId="{3449B92D-5A06-4C1D-87EF-74EAFCADFD6B}" type="presOf" srcId="{223E87BF-8BFA-4539-B616-ECF59C7A60AB}" destId="{E09FF709-B9A1-467B-BBF8-2127A63B2EF3}" srcOrd="0" destOrd="0" presId="urn:microsoft.com/office/officeart/2005/8/layout/hList1"/>
    <dgm:cxn modelId="{287E1C32-15FC-4492-9A12-A2153FF26D86}" srcId="{5B06EB90-98C5-4859-922A-0B07742D82AD}" destId="{4488291A-BD94-4685-A34F-B885F3B8EFAD}" srcOrd="2" destOrd="0" parTransId="{B714127B-1401-4012-8F90-450026D014FF}" sibTransId="{8656FD64-C920-4C1A-B228-DDB0A8E05BB7}"/>
    <dgm:cxn modelId="{F18BE438-4859-4F5E-B394-087BCE0F7E55}" srcId="{5B06EB90-98C5-4859-922A-0B07742D82AD}" destId="{C29D6BEC-58D3-4007-A770-E0D07CF2E858}" srcOrd="0" destOrd="0" parTransId="{FD113CBC-AF41-4DDD-A93A-E07E64820BFB}" sibTransId="{234ECDCA-080C-43A2-ACFE-8CED12658805}"/>
    <dgm:cxn modelId="{31371F4C-81BC-49BF-9367-AB88695C29C6}" type="presOf" srcId="{2C970401-B79F-44D8-840F-AFC1E28EEAE5}" destId="{205221B7-809E-408A-8761-924C5606E944}" srcOrd="0" destOrd="0" presId="urn:microsoft.com/office/officeart/2005/8/layout/hList1"/>
    <dgm:cxn modelId="{322B514C-E145-4B8C-90AD-4737CC5634BC}" type="presOf" srcId="{4488291A-BD94-4685-A34F-B885F3B8EFAD}" destId="{F96EBAB5-2385-44A0-9DAE-378482389753}" srcOrd="0" destOrd="0" presId="urn:microsoft.com/office/officeart/2005/8/layout/hList1"/>
    <dgm:cxn modelId="{71BBE94D-5FDE-4ED5-A719-CECE4435B6CC}" srcId="{2DC141A4-B592-435C-823C-677788188CBD}" destId="{223E87BF-8BFA-4539-B616-ECF59C7A60AB}" srcOrd="0" destOrd="0" parTransId="{6673230B-FBEF-4439-B2A7-4E383CCD7B9A}" sibTransId="{4BBBD690-4134-49AB-AC0C-39A005EB0B05}"/>
    <dgm:cxn modelId="{876FD671-B34A-4313-9ED6-E0C02ED0C53F}" srcId="{C29D6BEC-58D3-4007-A770-E0D07CF2E858}" destId="{F6E8E447-F8CD-43F1-87DE-F74AE20E1C91}" srcOrd="0" destOrd="0" parTransId="{E4D8EC6F-60EA-4903-9AE3-265F0EC19DDD}" sibTransId="{21C90245-59AD-4456-922C-A50A5148DBF2}"/>
    <dgm:cxn modelId="{BA9414AA-B4C7-4307-9ED2-0E9FE3E31FD0}" type="presOf" srcId="{5B06EB90-98C5-4859-922A-0B07742D82AD}" destId="{0FEB684E-E113-451E-B492-3E45F5FEF5C1}" srcOrd="0" destOrd="0" presId="urn:microsoft.com/office/officeart/2005/8/layout/hList1"/>
    <dgm:cxn modelId="{B73227B2-2017-4D84-A1EE-231E50AFC737}" type="presOf" srcId="{C29D6BEC-58D3-4007-A770-E0D07CF2E858}" destId="{B77136BE-66B6-43CA-ABD3-5EC058011C77}" srcOrd="0" destOrd="0" presId="urn:microsoft.com/office/officeart/2005/8/layout/hList1"/>
    <dgm:cxn modelId="{17FAA9B5-7321-4B51-9264-F689690BD583}" type="presOf" srcId="{7D531FA8-26FB-40E8-8E51-E296BACB2531}" destId="{E09FF709-B9A1-467B-BBF8-2127A63B2EF3}" srcOrd="0" destOrd="1" presId="urn:microsoft.com/office/officeart/2005/8/layout/hList1"/>
    <dgm:cxn modelId="{292D91BA-AB33-4CFB-9B48-8D22F5C1C0B6}" srcId="{4488291A-BD94-4685-A34F-B885F3B8EFAD}" destId="{D4BEA0F3-CE19-48A9-A8C5-5635AF03EA29}" srcOrd="1" destOrd="0" parTransId="{746779FD-0831-4795-B732-3F2981C93DCE}" sibTransId="{39491536-F75E-4C10-899B-200BA7EC66DC}"/>
    <dgm:cxn modelId="{881A1FBB-F8B5-42D1-82DD-17C06A1671CC}" srcId="{4488291A-BD94-4685-A34F-B885F3B8EFAD}" destId="{2C970401-B79F-44D8-840F-AFC1E28EEAE5}" srcOrd="0" destOrd="0" parTransId="{4B04EFF0-8494-45E6-8388-35E677B94DE7}" sibTransId="{7A00C314-1333-4C01-ACD9-D8DA13F98F78}"/>
    <dgm:cxn modelId="{3F7870E2-F2AC-43A0-8445-8527441D250B}" srcId="{5B06EB90-98C5-4859-922A-0B07742D82AD}" destId="{2DC141A4-B592-435C-823C-677788188CBD}" srcOrd="1" destOrd="0" parTransId="{5826039D-93BE-4C3C-BF14-BA91B7E8A1CC}" sibTransId="{C216D1D6-3A84-44F9-B1FF-E74F77D90E6D}"/>
    <dgm:cxn modelId="{74DF9EE3-3F08-4621-8D5B-10F3009BA0AF}" srcId="{2DC141A4-B592-435C-823C-677788188CBD}" destId="{7D531FA8-26FB-40E8-8E51-E296BACB2531}" srcOrd="1" destOrd="0" parTransId="{6BB0F509-FF30-4DCA-9060-AF24BAB8AA60}" sibTransId="{E3D22D90-1931-4C1B-AA8B-D22F38EAF7EE}"/>
    <dgm:cxn modelId="{0EB4FAF1-8A81-4597-8E2D-1D235EE357C5}" type="presOf" srcId="{D4BEA0F3-CE19-48A9-A8C5-5635AF03EA29}" destId="{205221B7-809E-408A-8761-924C5606E944}" srcOrd="0" destOrd="1" presId="urn:microsoft.com/office/officeart/2005/8/layout/hList1"/>
    <dgm:cxn modelId="{85A678F3-03C4-4129-B383-EEE3C7423F4B}" type="presOf" srcId="{2DC141A4-B592-435C-823C-677788188CBD}" destId="{88EAAD68-E779-4ABE-A5DA-0983BBEBC27F}" srcOrd="0" destOrd="0" presId="urn:microsoft.com/office/officeart/2005/8/layout/hList1"/>
    <dgm:cxn modelId="{C74CF4EF-587E-453A-A5CC-CA64D432B344}" type="presParOf" srcId="{0FEB684E-E113-451E-B492-3E45F5FEF5C1}" destId="{17481383-1DBB-4595-AEFE-D8D1DA23F699}" srcOrd="0" destOrd="0" presId="urn:microsoft.com/office/officeart/2005/8/layout/hList1"/>
    <dgm:cxn modelId="{BB13DF31-517E-4FA5-9C43-D36E47D52F38}" type="presParOf" srcId="{17481383-1DBB-4595-AEFE-D8D1DA23F699}" destId="{B77136BE-66B6-43CA-ABD3-5EC058011C77}" srcOrd="0" destOrd="0" presId="urn:microsoft.com/office/officeart/2005/8/layout/hList1"/>
    <dgm:cxn modelId="{7C18DE6A-64CD-42ED-B30C-14A5A43F8575}" type="presParOf" srcId="{17481383-1DBB-4595-AEFE-D8D1DA23F699}" destId="{5A01AD50-A4BE-433F-882C-7262AEE7DECE}" srcOrd="1" destOrd="0" presId="urn:microsoft.com/office/officeart/2005/8/layout/hList1"/>
    <dgm:cxn modelId="{F964187D-0ED2-4148-920E-FC9A9680C440}" type="presParOf" srcId="{0FEB684E-E113-451E-B492-3E45F5FEF5C1}" destId="{60AC7C03-037F-4D1B-9634-D54EE3C5640B}" srcOrd="1" destOrd="0" presId="urn:microsoft.com/office/officeart/2005/8/layout/hList1"/>
    <dgm:cxn modelId="{3C2A7E9C-436B-4B2C-BAA9-F914FF079E18}" type="presParOf" srcId="{0FEB684E-E113-451E-B492-3E45F5FEF5C1}" destId="{ECE42E4D-E658-4135-AE0B-4C8C74A989ED}" srcOrd="2" destOrd="0" presId="urn:microsoft.com/office/officeart/2005/8/layout/hList1"/>
    <dgm:cxn modelId="{96431E19-B3A9-440C-95DB-A3044F820489}" type="presParOf" srcId="{ECE42E4D-E658-4135-AE0B-4C8C74A989ED}" destId="{88EAAD68-E779-4ABE-A5DA-0983BBEBC27F}" srcOrd="0" destOrd="0" presId="urn:microsoft.com/office/officeart/2005/8/layout/hList1"/>
    <dgm:cxn modelId="{60C2AB73-3333-4678-A2B2-736373C47512}" type="presParOf" srcId="{ECE42E4D-E658-4135-AE0B-4C8C74A989ED}" destId="{E09FF709-B9A1-467B-BBF8-2127A63B2EF3}" srcOrd="1" destOrd="0" presId="urn:microsoft.com/office/officeart/2005/8/layout/hList1"/>
    <dgm:cxn modelId="{0CCF7ABE-8B67-47F9-B495-24CC2BC17232}" type="presParOf" srcId="{0FEB684E-E113-451E-B492-3E45F5FEF5C1}" destId="{9C741542-FC0D-4FA2-8EF6-9DC8D76C0ADD}" srcOrd="3" destOrd="0" presId="urn:microsoft.com/office/officeart/2005/8/layout/hList1"/>
    <dgm:cxn modelId="{AC81579A-F9FB-4670-A2E2-4C3E441BD1D3}" type="presParOf" srcId="{0FEB684E-E113-451E-B492-3E45F5FEF5C1}" destId="{16AA0DCF-6F46-4C2E-80CE-761D09CFA840}" srcOrd="4" destOrd="0" presId="urn:microsoft.com/office/officeart/2005/8/layout/hList1"/>
    <dgm:cxn modelId="{CF2B2656-DC2A-4CD5-A900-1B75BA781D66}" type="presParOf" srcId="{16AA0DCF-6F46-4C2E-80CE-761D09CFA840}" destId="{F96EBAB5-2385-44A0-9DAE-378482389753}" srcOrd="0" destOrd="0" presId="urn:microsoft.com/office/officeart/2005/8/layout/hList1"/>
    <dgm:cxn modelId="{8D8BBD22-F4B9-4089-B63A-9FDBD3BA22BF}" type="presParOf" srcId="{16AA0DCF-6F46-4C2E-80CE-761D09CFA840}" destId="{205221B7-809E-408A-8761-924C5606E94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5A8BE3A-9990-4232-8912-110E6E121807}" type="doc">
      <dgm:prSet loTypeId="urn:microsoft.com/office/officeart/2005/8/layout/defaul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0486EE9A-3E6E-43FB-AD24-21CD026C9C41}" type="parTrans" cxnId="{5D0E66CD-59FC-4AEA-875E-3FBD770FE4B7}">
      <dgm:prSet/>
      <dgm:spPr/>
      <dgm:t>
        <a:bodyPr/>
        <a:lstStyle/>
        <a:p>
          <a:endParaRPr lang="en-US"/>
        </a:p>
      </dgm:t>
    </dgm:pt>
    <dgm:pt modelId="{30B572C5-5221-4FD0-8E3E-DC053333C8C3}">
      <dgm:prSet custT="1"/>
      <dgm:spPr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iek (40 lat i więcej)</a:t>
          </a:r>
          <a:endParaRPr lang="en-US"/>
        </a:p>
      </dgm:t>
    </dgm:pt>
    <dgm:pt modelId="{C98A1F1B-A0C7-43B9-9E01-A003135CB10F}" type="sibTrans" cxnId="{5D0E66CD-59FC-4AEA-875E-3FBD770FE4B7}">
      <dgm:prSet/>
      <dgm:spPr/>
      <dgm:t>
        <a:bodyPr/>
        <a:lstStyle/>
        <a:p>
          <a:endParaRPr lang="en-US"/>
        </a:p>
      </dgm:t>
    </dgm:pt>
    <dgm:pt modelId="{C650762C-5077-45D8-90A5-966139F10F0D}" type="parTrans" cxnId="{673B8226-9BCB-4293-AAC7-79CAC258A5AD}">
      <dgm:prSet/>
      <dgm:spPr/>
      <dgm:t>
        <a:bodyPr/>
        <a:lstStyle/>
        <a:p>
          <a:endParaRPr lang="en-US"/>
        </a:p>
      </dgm:t>
    </dgm:pt>
    <dgm:pt modelId="{84B79948-5B19-4C78-9BA7-00828FCB7C0C}">
      <dgm:prSet custT="1"/>
      <dgm:spPr>
        <a:solidFill>
          <a:schemeClr val="accent1">
            <a:shade val="80000"/>
            <a:hueOff val="24660"/>
            <a:satOff val="470"/>
            <a:lumOff val="2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asa/kolor</a:t>
          </a:r>
          <a:endParaRPr lang="en-US"/>
        </a:p>
      </dgm:t>
    </dgm:pt>
    <dgm:pt modelId="{B0A30908-0AEB-414E-B9D4-8F235A79FC3D}" type="sibTrans" cxnId="{673B8226-9BCB-4293-AAC7-79CAC258A5AD}">
      <dgm:prSet/>
      <dgm:spPr/>
      <dgm:t>
        <a:bodyPr/>
        <a:lstStyle/>
        <a:p>
          <a:endParaRPr lang="en-US"/>
        </a:p>
      </dgm:t>
    </dgm:pt>
    <dgm:pt modelId="{265C025C-70C6-4FA8-99B2-955218BA8D42}" type="parTrans" cxnId="{E4758C18-F5C4-4909-A70E-AA73D1DA5672}">
      <dgm:prSet/>
      <dgm:spPr/>
      <dgm:t>
        <a:bodyPr/>
        <a:lstStyle/>
        <a:p>
          <a:endParaRPr lang="en-US"/>
        </a:p>
      </dgm:t>
    </dgm:pt>
    <dgm:pt modelId="{AA483315-E412-498F-B60E-0DFFBECDA905}">
      <dgm:prSet custT="1"/>
      <dgm:spPr>
        <a:solidFill>
          <a:schemeClr val="accent1">
            <a:shade val="80000"/>
            <a:hueOff val="49321"/>
            <a:satOff val="941"/>
            <a:lumOff val="4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chodzenie narodowe / obywatelstwo</a:t>
          </a:r>
          <a:endParaRPr lang="en-US"/>
        </a:p>
      </dgm:t>
    </dgm:pt>
    <dgm:pt modelId="{1D3EF33A-9E18-4617-9552-E7C811B5A57C}" type="sibTrans" cxnId="{E4758C18-F5C4-4909-A70E-AA73D1DA5672}">
      <dgm:prSet/>
      <dgm:spPr/>
      <dgm:t>
        <a:bodyPr/>
        <a:lstStyle/>
        <a:p>
          <a:endParaRPr lang="en-US"/>
        </a:p>
      </dgm:t>
    </dgm:pt>
    <dgm:pt modelId="{E697FD85-26BA-4676-826E-0DDA05BB8786}" type="parTrans" cxnId="{216C6C19-C7E4-4933-A08D-B006E3DB829F}">
      <dgm:prSet/>
      <dgm:spPr/>
      <dgm:t>
        <a:bodyPr/>
        <a:lstStyle/>
        <a:p>
          <a:endParaRPr lang="en-US"/>
        </a:p>
      </dgm:t>
    </dgm:pt>
    <dgm:pt modelId="{1A32B718-F6E8-49ED-B712-04CBBA6EA4EA}">
      <dgm:prSet custT="1"/>
      <dgm:spPr>
        <a:solidFill>
          <a:schemeClr val="accent1">
            <a:shade val="80000"/>
            <a:hueOff val="73981"/>
            <a:satOff val="1411"/>
            <a:lumOff val="62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nformacje genetyczne</a:t>
          </a:r>
          <a:endParaRPr lang="en-US"/>
        </a:p>
      </dgm:t>
    </dgm:pt>
    <dgm:pt modelId="{2AC6CF8D-EA7B-4E6B-AAA0-36E8122C0BAF}" type="sibTrans" cxnId="{216C6C19-C7E4-4933-A08D-B006E3DB829F}">
      <dgm:prSet/>
      <dgm:spPr/>
      <dgm:t>
        <a:bodyPr/>
        <a:lstStyle/>
        <a:p>
          <a:endParaRPr lang="en-US"/>
        </a:p>
      </dgm:t>
    </dgm:pt>
    <dgm:pt modelId="{71FB683F-DBE8-4F7D-BA4C-BDE8C98C24ED}" type="parTrans" cxnId="{3D882CAE-1EEA-4612-B056-07D92AC19279}">
      <dgm:prSet/>
      <dgm:spPr/>
      <dgm:t>
        <a:bodyPr/>
        <a:lstStyle/>
        <a:p>
          <a:endParaRPr lang="en-US"/>
        </a:p>
      </dgm:t>
    </dgm:pt>
    <dgm:pt modelId="{8E97A603-FEBF-4B61-9C74-AEF3D1F4B7BC}">
      <dgm:prSet custT="1"/>
      <dgm:spPr>
        <a:solidFill>
          <a:schemeClr val="accent1">
            <a:shade val="80000"/>
            <a:hueOff val="98641"/>
            <a:satOff val="1882"/>
            <a:lumOff val="83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Język</a:t>
          </a:r>
          <a:endParaRPr lang="en-US"/>
        </a:p>
      </dgm:t>
    </dgm:pt>
    <dgm:pt modelId="{8F0B935F-DBF3-4CCD-BF3C-D39AF35CD421}" type="sibTrans" cxnId="{3D882CAE-1EEA-4612-B056-07D92AC19279}">
      <dgm:prSet/>
      <dgm:spPr/>
      <dgm:t>
        <a:bodyPr/>
        <a:lstStyle/>
        <a:p>
          <a:endParaRPr lang="en-US"/>
        </a:p>
      </dgm:t>
    </dgm:pt>
    <dgm:pt modelId="{2B5865D3-CFDB-4A67-A55A-89F722393BB5}" type="parTrans" cxnId="{BB3CB6DF-4FC3-4CF3-9D4D-34B9DE27D0D5}">
      <dgm:prSet/>
      <dgm:spPr/>
      <dgm:t>
        <a:bodyPr/>
        <a:lstStyle/>
        <a:p>
          <a:endParaRPr lang="en-US"/>
        </a:p>
      </dgm:t>
    </dgm:pt>
    <dgm:pt modelId="{BA24A286-25D9-46BA-BE57-54676FA1E3DF}">
      <dgm:prSet custT="1"/>
      <dgm:spPr>
        <a:solidFill>
          <a:schemeClr val="accent1">
            <a:shade val="80000"/>
            <a:hueOff val="123302"/>
            <a:satOff val="2352"/>
            <a:lumOff val="103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eligia lub przekonania</a:t>
          </a:r>
          <a:endParaRPr lang="en-US"/>
        </a:p>
      </dgm:t>
    </dgm:pt>
    <dgm:pt modelId="{A34CF339-3BCF-4C8D-A48C-3B167F1D3083}" type="sibTrans" cxnId="{BB3CB6DF-4FC3-4CF3-9D4D-34B9DE27D0D5}">
      <dgm:prSet/>
      <dgm:spPr/>
      <dgm:t>
        <a:bodyPr/>
        <a:lstStyle/>
        <a:p>
          <a:endParaRPr lang="en-US"/>
        </a:p>
      </dgm:t>
    </dgm:pt>
    <dgm:pt modelId="{8B8931D4-C5B0-4122-874C-804A44376DD5}" type="parTrans" cxnId="{7C7A756E-B0D9-402F-BDA4-673C090A866D}">
      <dgm:prSet/>
      <dgm:spPr/>
      <dgm:t>
        <a:bodyPr/>
        <a:lstStyle/>
        <a:p>
          <a:endParaRPr lang="en-US"/>
        </a:p>
      </dgm:t>
    </dgm:pt>
    <dgm:pt modelId="{D0895D99-5AA0-4CCE-8B73-FE41472C79C3}">
      <dgm:prSet custT="1"/>
      <dgm:spPr>
        <a:solidFill>
          <a:schemeClr val="accent1">
            <a:shade val="80000"/>
            <a:hueOff val="147962"/>
            <a:satOff val="2823"/>
            <a:lumOff val="124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mysły polityczne lub dotyczące związków zawodowych</a:t>
          </a:r>
          <a:endParaRPr lang="en-US"/>
        </a:p>
      </dgm:t>
    </dgm:pt>
    <dgm:pt modelId="{4A32E3D9-A3F8-4709-A336-BCF80D717EB0}" type="sibTrans" cxnId="{7C7A756E-B0D9-402F-BDA4-673C090A866D}">
      <dgm:prSet/>
      <dgm:spPr/>
      <dgm:t>
        <a:bodyPr/>
        <a:lstStyle/>
        <a:p>
          <a:endParaRPr lang="en-US"/>
        </a:p>
      </dgm:t>
    </dgm:pt>
    <dgm:pt modelId="{D6F1117D-7524-408D-A5EE-39AD838EE339}" type="parTrans" cxnId="{7EC0BC84-464D-43E9-9ECB-E6E9B7EDB808}">
      <dgm:prSet/>
      <dgm:spPr/>
      <dgm:t>
        <a:bodyPr/>
        <a:lstStyle/>
        <a:p>
          <a:endParaRPr lang="en-US"/>
        </a:p>
      </dgm:t>
    </dgm:pt>
    <dgm:pt modelId="{96179C8C-1DD2-46BA-9583-4CA22832C5E1}">
      <dgm:prSet custT="1"/>
      <dgm:spPr>
        <a:solidFill>
          <a:schemeClr val="accent1">
            <a:shade val="80000"/>
            <a:hueOff val="172622"/>
            <a:satOff val="3293"/>
            <a:lumOff val="1454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tatus weterana</a:t>
          </a:r>
          <a:endParaRPr lang="en-US"/>
        </a:p>
      </dgm:t>
    </dgm:pt>
    <dgm:pt modelId="{5DC5A7CA-3518-405F-8121-71430A94FFBC}" type="sibTrans" cxnId="{7EC0BC84-464D-43E9-9ECB-E6E9B7EDB808}">
      <dgm:prSet/>
      <dgm:spPr/>
      <dgm:t>
        <a:bodyPr/>
        <a:lstStyle/>
        <a:p>
          <a:endParaRPr lang="en-US"/>
        </a:p>
      </dgm:t>
    </dgm:pt>
    <dgm:pt modelId="{AC8A5AFF-175A-4F41-AF35-DBEC5235A8A5}" type="parTrans" cxnId="{DA6BE3E4-31F0-46FA-B3FC-178B55BBF898}">
      <dgm:prSet/>
      <dgm:spPr/>
      <dgm:t>
        <a:bodyPr/>
        <a:lstStyle/>
        <a:p>
          <a:endParaRPr lang="en-US"/>
        </a:p>
      </dgm:t>
    </dgm:pt>
    <dgm:pt modelId="{6CCC8163-9C03-44DC-8CD0-BE8BB1ECA829}">
      <dgm:prSet custT="1"/>
      <dgm:spPr>
        <a:solidFill>
          <a:schemeClr val="accent1">
            <a:shade val="80000"/>
            <a:hueOff val="197282"/>
            <a:satOff val="3764"/>
            <a:lumOff val="166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łeć (obejmuje ciążę/poród dziecka)</a:t>
          </a:r>
        </a:p>
      </dgm:t>
    </dgm:pt>
    <dgm:pt modelId="{C8FCAC15-A25E-40E0-A3EB-7826ADFD9AB3}" type="sibTrans" cxnId="{DA6BE3E4-31F0-46FA-B3FC-178B55BBF898}">
      <dgm:prSet/>
      <dgm:spPr/>
      <dgm:t>
        <a:bodyPr/>
        <a:lstStyle/>
        <a:p>
          <a:endParaRPr lang="en-US"/>
        </a:p>
      </dgm:t>
    </dgm:pt>
    <dgm:pt modelId="{3BA743DB-F0C7-4C18-8B32-924A3D02F4D8}" type="parTrans" cxnId="{EBCBD3EB-317D-497D-8250-DECFB09C7BFD}">
      <dgm:prSet/>
      <dgm:spPr/>
      <dgm:t>
        <a:bodyPr/>
        <a:lstStyle/>
        <a:p>
          <a:endParaRPr lang="en-US"/>
        </a:p>
      </dgm:t>
    </dgm:pt>
    <dgm:pt modelId="{F2479D3B-5491-487C-B349-8B92252484F4}">
      <dgm:prSet custT="1"/>
      <dgm:spPr>
        <a:solidFill>
          <a:schemeClr val="accent1">
            <a:shade val="80000"/>
            <a:hueOff val="221943"/>
            <a:satOff val="4234"/>
            <a:lumOff val="187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ożsamość płciowa</a:t>
          </a:r>
          <a:endParaRPr lang="en-US"/>
        </a:p>
      </dgm:t>
    </dgm:pt>
    <dgm:pt modelId="{88371F9B-07F6-4868-A36C-998E067F5033}" type="sibTrans" cxnId="{EBCBD3EB-317D-497D-8250-DECFB09C7BFD}">
      <dgm:prSet/>
      <dgm:spPr/>
      <dgm:t>
        <a:bodyPr/>
        <a:lstStyle/>
        <a:p>
          <a:endParaRPr lang="en-US"/>
        </a:p>
      </dgm:t>
    </dgm:pt>
    <dgm:pt modelId="{A7E3C7F5-9C15-4A8B-8A1C-CED1AEA2A46A}" type="parTrans" cxnId="{130651B6-F849-464F-BC2B-FBEFA2D047BA}">
      <dgm:prSet/>
      <dgm:spPr/>
      <dgm:t>
        <a:bodyPr/>
        <a:lstStyle/>
        <a:p>
          <a:endParaRPr lang="en-US"/>
        </a:p>
      </dgm:t>
    </dgm:pt>
    <dgm:pt modelId="{8F92365D-1570-436B-9D3F-98B02DFD5219}">
      <dgm:prSet custT="1"/>
      <dgm:spPr>
        <a:solidFill>
          <a:schemeClr val="accent1">
            <a:shade val="80000"/>
            <a:hueOff val="246603"/>
            <a:satOff val="4705"/>
            <a:lumOff val="207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Niepełnosprawność fizyczna lub umysłowa </a:t>
          </a:r>
          <a:endParaRPr lang="en-US"/>
        </a:p>
      </dgm:t>
    </dgm:pt>
    <dgm:pt modelId="{59892764-B9F5-4CE6-A33E-886B13C45D5C}" type="sibTrans" cxnId="{130651B6-F849-464F-BC2B-FBEFA2D047BA}">
      <dgm:prSet/>
      <dgm:spPr/>
      <dgm:t>
        <a:bodyPr/>
        <a:lstStyle/>
        <a:p>
          <a:endParaRPr lang="en-US"/>
        </a:p>
      </dgm:t>
    </dgm:pt>
    <dgm:pt modelId="{CABA8938-F305-40CB-BC7C-E6D2B75C5E50}" type="parTrans" cxnId="{22D96BDA-6FF0-4276-9D61-B65E36C624A4}">
      <dgm:prSet/>
      <dgm:spPr/>
      <dgm:t>
        <a:bodyPr/>
        <a:lstStyle/>
        <a:p>
          <a:endParaRPr lang="en-US"/>
        </a:p>
      </dgm:t>
    </dgm:pt>
    <dgm:pt modelId="{3A4AD095-B8AF-4668-916C-D465093EA655}">
      <dgm:prSet custT="1"/>
      <dgm:spPr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entacja seksualna</a:t>
          </a:r>
          <a:endParaRPr lang="en-US"/>
        </a:p>
      </dgm:t>
    </dgm:pt>
    <dgm:pt modelId="{6DEF558F-1461-40A3-B660-305F6075B3AD}" type="sibTrans" cxnId="{22D96BDA-6FF0-4276-9D61-B65E36C624A4}">
      <dgm:prSet/>
      <dgm:spPr/>
      <dgm:t>
        <a:bodyPr/>
        <a:lstStyle/>
        <a:p>
          <a:endParaRPr lang="en-US"/>
        </a:p>
      </dgm:t>
    </dgm:pt>
    <dgm:pt modelId="{15814E76-000F-4776-B97F-8B899AD44BAC}" type="pres">
      <dgm:prSet presAssocID="{A5A8BE3A-9990-4232-8912-110E6E121807}" presName="diagram" presStyleCnt="0">
        <dgm:presLayoutVars>
          <dgm:dir/>
          <dgm:resizeHandles val="exact"/>
        </dgm:presLayoutVars>
      </dgm:prSet>
      <dgm:spPr/>
    </dgm:pt>
    <dgm:pt modelId="{6956F062-E831-4C9D-8295-EBD859E85986}" type="pres">
      <dgm:prSet presAssocID="{30B572C5-5221-4FD0-8E3E-DC053333C8C3}" presName="node" presStyleLbl="node1" presStyleIdx="0" presStyleCnt="12">
        <dgm:presLayoutVars>
          <dgm:bulletEnabled val="1"/>
        </dgm:presLayoutVars>
      </dgm:prSet>
      <dgm:spPr/>
    </dgm:pt>
    <dgm:pt modelId="{83BE6824-ECE8-467C-8569-E2F8B857E995}" type="pres">
      <dgm:prSet presAssocID="{C98A1F1B-A0C7-43B9-9E01-A003135CB10F}" presName="sibTrans" presStyleCnt="0"/>
      <dgm:spPr/>
    </dgm:pt>
    <dgm:pt modelId="{314BF5E9-6D32-4139-B1EF-52F90BD3589D}" type="pres">
      <dgm:prSet presAssocID="{84B79948-5B19-4C78-9BA7-00828FCB7C0C}" presName="node" presStyleLbl="node1" presStyleIdx="1" presStyleCnt="12">
        <dgm:presLayoutVars>
          <dgm:bulletEnabled val="1"/>
        </dgm:presLayoutVars>
      </dgm:prSet>
      <dgm:spPr/>
    </dgm:pt>
    <dgm:pt modelId="{4877B61D-64F6-4AE7-BC77-59AA8DC2C961}" type="pres">
      <dgm:prSet presAssocID="{B0A30908-0AEB-414E-B9D4-8F235A79FC3D}" presName="sibTrans" presStyleCnt="0"/>
      <dgm:spPr/>
    </dgm:pt>
    <dgm:pt modelId="{65B48DC4-277D-4510-87DB-C69F1B7D6DD3}" type="pres">
      <dgm:prSet presAssocID="{AA483315-E412-498F-B60E-0DFFBECDA905}" presName="node" presStyleLbl="node1" presStyleIdx="2" presStyleCnt="12">
        <dgm:presLayoutVars>
          <dgm:bulletEnabled val="1"/>
        </dgm:presLayoutVars>
      </dgm:prSet>
      <dgm:spPr/>
    </dgm:pt>
    <dgm:pt modelId="{783803F8-6E7F-4EEA-AAD0-483B213E43F0}" type="pres">
      <dgm:prSet presAssocID="{1D3EF33A-9E18-4617-9552-E7C811B5A57C}" presName="sibTrans" presStyleCnt="0"/>
      <dgm:spPr/>
    </dgm:pt>
    <dgm:pt modelId="{C28451D7-32EE-4871-A93E-B1ABC49EF3AC}" type="pres">
      <dgm:prSet presAssocID="{1A32B718-F6E8-49ED-B712-04CBBA6EA4EA}" presName="node" presStyleLbl="node1" presStyleIdx="3" presStyleCnt="12">
        <dgm:presLayoutVars>
          <dgm:bulletEnabled val="1"/>
        </dgm:presLayoutVars>
      </dgm:prSet>
      <dgm:spPr/>
    </dgm:pt>
    <dgm:pt modelId="{A43E9D34-925F-4655-AC4B-A55B519327B9}" type="pres">
      <dgm:prSet presAssocID="{2AC6CF8D-EA7B-4E6B-AAA0-36E8122C0BAF}" presName="sibTrans" presStyleCnt="0"/>
      <dgm:spPr/>
    </dgm:pt>
    <dgm:pt modelId="{B97059E4-569B-439D-ACCE-C703E8EBB9E0}" type="pres">
      <dgm:prSet presAssocID="{8E97A603-FEBF-4B61-9C74-AEF3D1F4B7BC}" presName="node" presStyleLbl="node1" presStyleIdx="4" presStyleCnt="12">
        <dgm:presLayoutVars>
          <dgm:bulletEnabled val="1"/>
        </dgm:presLayoutVars>
      </dgm:prSet>
      <dgm:spPr/>
    </dgm:pt>
    <dgm:pt modelId="{F6EE2DDB-A1DE-4893-B327-CFE95B44129A}" type="pres">
      <dgm:prSet presAssocID="{8F0B935F-DBF3-4CCD-BF3C-D39AF35CD421}" presName="sibTrans" presStyleCnt="0"/>
      <dgm:spPr/>
    </dgm:pt>
    <dgm:pt modelId="{1C95E413-6173-413A-912F-7DA1BB34D98F}" type="pres">
      <dgm:prSet presAssocID="{BA24A286-25D9-46BA-BE57-54676FA1E3DF}" presName="node" presStyleLbl="node1" presStyleIdx="5" presStyleCnt="12">
        <dgm:presLayoutVars>
          <dgm:bulletEnabled val="1"/>
        </dgm:presLayoutVars>
      </dgm:prSet>
      <dgm:spPr/>
    </dgm:pt>
    <dgm:pt modelId="{68AC4E92-8AE2-4175-AC30-74BB205C523D}" type="pres">
      <dgm:prSet presAssocID="{A34CF339-3BCF-4C8D-A48C-3B167F1D3083}" presName="sibTrans" presStyleCnt="0"/>
      <dgm:spPr/>
    </dgm:pt>
    <dgm:pt modelId="{A26D54B5-B4E7-40E8-9B74-824A0E4BCFBB}" type="pres">
      <dgm:prSet presAssocID="{D0895D99-5AA0-4CCE-8B73-FE41472C79C3}" presName="node" presStyleLbl="node1" presStyleIdx="6" presStyleCnt="12">
        <dgm:presLayoutVars>
          <dgm:bulletEnabled val="1"/>
        </dgm:presLayoutVars>
      </dgm:prSet>
      <dgm:spPr/>
    </dgm:pt>
    <dgm:pt modelId="{68EBFB17-CAB3-420D-837A-15718F4AFEC2}" type="pres">
      <dgm:prSet presAssocID="{4A32E3D9-A3F8-4709-A336-BCF80D717EB0}" presName="sibTrans" presStyleCnt="0"/>
      <dgm:spPr/>
    </dgm:pt>
    <dgm:pt modelId="{00672C99-BC32-447E-BE26-36407AA2BDB2}" type="pres">
      <dgm:prSet presAssocID="{96179C8C-1DD2-46BA-9583-4CA22832C5E1}" presName="node" presStyleLbl="node1" presStyleIdx="7" presStyleCnt="12">
        <dgm:presLayoutVars>
          <dgm:bulletEnabled val="1"/>
        </dgm:presLayoutVars>
      </dgm:prSet>
      <dgm:spPr/>
    </dgm:pt>
    <dgm:pt modelId="{04BA77DB-C2CB-4B5C-B33C-74BA13CCFBA4}" type="pres">
      <dgm:prSet presAssocID="{5DC5A7CA-3518-405F-8121-71430A94FFBC}" presName="sibTrans" presStyleCnt="0"/>
      <dgm:spPr/>
    </dgm:pt>
    <dgm:pt modelId="{4CCD97D0-30AC-4C6D-BD06-F8D29050925E}" type="pres">
      <dgm:prSet presAssocID="{6CCC8163-9C03-44DC-8CD0-BE8BB1ECA829}" presName="node" presStyleLbl="node1" presStyleIdx="8" presStyleCnt="12">
        <dgm:presLayoutVars>
          <dgm:bulletEnabled val="1"/>
        </dgm:presLayoutVars>
      </dgm:prSet>
      <dgm:spPr/>
    </dgm:pt>
    <dgm:pt modelId="{F5570305-EA47-43E3-A112-D29B322D979B}" type="pres">
      <dgm:prSet presAssocID="{C8FCAC15-A25E-40E0-A3EB-7826ADFD9AB3}" presName="sibTrans" presStyleCnt="0"/>
      <dgm:spPr/>
    </dgm:pt>
    <dgm:pt modelId="{483AB9CE-7E99-4641-8A28-E74959ABA064}" type="pres">
      <dgm:prSet presAssocID="{F2479D3B-5491-487C-B349-8B92252484F4}" presName="node" presStyleLbl="node1" presStyleIdx="9" presStyleCnt="12">
        <dgm:presLayoutVars>
          <dgm:bulletEnabled val="1"/>
        </dgm:presLayoutVars>
      </dgm:prSet>
      <dgm:spPr/>
    </dgm:pt>
    <dgm:pt modelId="{3ED9C730-58CB-48F6-A44B-7F354F869F48}" type="pres">
      <dgm:prSet presAssocID="{88371F9B-07F6-4868-A36C-998E067F5033}" presName="sibTrans" presStyleCnt="0"/>
      <dgm:spPr/>
    </dgm:pt>
    <dgm:pt modelId="{EAD55615-8E89-44DC-83A8-7C3F87D1D88C}" type="pres">
      <dgm:prSet presAssocID="{8F92365D-1570-436B-9D3F-98B02DFD5219}" presName="node" presStyleLbl="node1" presStyleIdx="10" presStyleCnt="12">
        <dgm:presLayoutVars>
          <dgm:bulletEnabled val="1"/>
        </dgm:presLayoutVars>
      </dgm:prSet>
      <dgm:spPr/>
    </dgm:pt>
    <dgm:pt modelId="{35A960D8-ECEB-4390-9F81-F1AAB2ECC6FC}" type="pres">
      <dgm:prSet presAssocID="{59892764-B9F5-4CE6-A33E-886B13C45D5C}" presName="sibTrans" presStyleCnt="0"/>
      <dgm:spPr/>
    </dgm:pt>
    <dgm:pt modelId="{498343EC-04AC-4CAD-8B5E-ABC16ACC2F20}" type="pres">
      <dgm:prSet presAssocID="{3A4AD095-B8AF-4668-916C-D465093EA655}" presName="node" presStyleLbl="node1" presStyleIdx="11" presStyleCnt="12">
        <dgm:presLayoutVars>
          <dgm:bulletEnabled val="1"/>
        </dgm:presLayoutVars>
      </dgm:prSet>
      <dgm:spPr/>
    </dgm:pt>
  </dgm:ptLst>
  <dgm:cxnLst>
    <dgm:cxn modelId="{2EF7E501-A331-4C1C-B0A7-06E4519DE2DE}" type="presOf" srcId="{6CCC8163-9C03-44DC-8CD0-BE8BB1ECA829}" destId="{4CCD97D0-30AC-4C6D-BD06-F8D29050925E}" srcOrd="0" destOrd="0" presId="urn:microsoft.com/office/officeart/2005/8/layout/default"/>
    <dgm:cxn modelId="{6D4DF107-4B56-4E32-A32B-5A7381C0FD2C}" type="presOf" srcId="{96179C8C-1DD2-46BA-9583-4CA22832C5E1}" destId="{00672C99-BC32-447E-BE26-36407AA2BDB2}" srcOrd="0" destOrd="0" presId="urn:microsoft.com/office/officeart/2005/8/layout/default"/>
    <dgm:cxn modelId="{E4758C18-F5C4-4909-A70E-AA73D1DA5672}" srcId="{A5A8BE3A-9990-4232-8912-110E6E121807}" destId="{AA483315-E412-498F-B60E-0DFFBECDA905}" srcOrd="2" destOrd="0" parTransId="{265C025C-70C6-4FA8-99B2-955218BA8D42}" sibTransId="{1D3EF33A-9E18-4617-9552-E7C811B5A57C}"/>
    <dgm:cxn modelId="{216C6C19-C7E4-4933-A08D-B006E3DB829F}" srcId="{A5A8BE3A-9990-4232-8912-110E6E121807}" destId="{1A32B718-F6E8-49ED-B712-04CBBA6EA4EA}" srcOrd="3" destOrd="0" parTransId="{E697FD85-26BA-4676-826E-0DDA05BB8786}" sibTransId="{2AC6CF8D-EA7B-4E6B-AAA0-36E8122C0BAF}"/>
    <dgm:cxn modelId="{673B8226-9BCB-4293-AAC7-79CAC258A5AD}" srcId="{A5A8BE3A-9990-4232-8912-110E6E121807}" destId="{84B79948-5B19-4C78-9BA7-00828FCB7C0C}" srcOrd="1" destOrd="0" parTransId="{C650762C-5077-45D8-90A5-966139F10F0D}" sibTransId="{B0A30908-0AEB-414E-B9D4-8F235A79FC3D}"/>
    <dgm:cxn modelId="{DFC6A236-4723-4A5D-AB89-3945F223B9F6}" type="presOf" srcId="{8F92365D-1570-436B-9D3F-98B02DFD5219}" destId="{EAD55615-8E89-44DC-83A8-7C3F87D1D88C}" srcOrd="0" destOrd="0" presId="urn:microsoft.com/office/officeart/2005/8/layout/default"/>
    <dgm:cxn modelId="{A49AE542-A656-4ED9-BE04-F04838CE083B}" type="presOf" srcId="{BA24A286-25D9-46BA-BE57-54676FA1E3DF}" destId="{1C95E413-6173-413A-912F-7DA1BB34D98F}" srcOrd="0" destOrd="0" presId="urn:microsoft.com/office/officeart/2005/8/layout/default"/>
    <dgm:cxn modelId="{7C7A756E-B0D9-402F-BDA4-673C090A866D}" srcId="{A5A8BE3A-9990-4232-8912-110E6E121807}" destId="{D0895D99-5AA0-4CCE-8B73-FE41472C79C3}" srcOrd="6" destOrd="0" parTransId="{8B8931D4-C5B0-4122-874C-804A44376DD5}" sibTransId="{4A32E3D9-A3F8-4709-A336-BCF80D717EB0}"/>
    <dgm:cxn modelId="{8CCBE953-F48F-409E-A184-FD6DDD78E661}" type="presOf" srcId="{8E97A603-FEBF-4B61-9C74-AEF3D1F4B7BC}" destId="{B97059E4-569B-439D-ACCE-C703E8EBB9E0}" srcOrd="0" destOrd="0" presId="urn:microsoft.com/office/officeart/2005/8/layout/default"/>
    <dgm:cxn modelId="{23DDC45A-2A04-46FC-833D-26C22E018406}" type="presOf" srcId="{3A4AD095-B8AF-4668-916C-D465093EA655}" destId="{498343EC-04AC-4CAD-8B5E-ABC16ACC2F20}" srcOrd="0" destOrd="0" presId="urn:microsoft.com/office/officeart/2005/8/layout/default"/>
    <dgm:cxn modelId="{7EC0BC84-464D-43E9-9ECB-E6E9B7EDB808}" srcId="{A5A8BE3A-9990-4232-8912-110E6E121807}" destId="{96179C8C-1DD2-46BA-9583-4CA22832C5E1}" srcOrd="7" destOrd="0" parTransId="{D6F1117D-7524-408D-A5EE-39AD838EE339}" sibTransId="{5DC5A7CA-3518-405F-8121-71430A94FFBC}"/>
    <dgm:cxn modelId="{C56028AD-A303-4BD1-97D0-6A493F057DCD}" type="presOf" srcId="{A5A8BE3A-9990-4232-8912-110E6E121807}" destId="{15814E76-000F-4776-B97F-8B899AD44BAC}" srcOrd="0" destOrd="0" presId="urn:microsoft.com/office/officeart/2005/8/layout/default"/>
    <dgm:cxn modelId="{3D882CAE-1EEA-4612-B056-07D92AC19279}" srcId="{A5A8BE3A-9990-4232-8912-110E6E121807}" destId="{8E97A603-FEBF-4B61-9C74-AEF3D1F4B7BC}" srcOrd="4" destOrd="0" parTransId="{71FB683F-DBE8-4F7D-BA4C-BDE8C98C24ED}" sibTransId="{8F0B935F-DBF3-4CCD-BF3C-D39AF35CD421}"/>
    <dgm:cxn modelId="{130651B6-F849-464F-BC2B-FBEFA2D047BA}" srcId="{A5A8BE3A-9990-4232-8912-110E6E121807}" destId="{8F92365D-1570-436B-9D3F-98B02DFD5219}" srcOrd="10" destOrd="0" parTransId="{A7E3C7F5-9C15-4A8B-8A1C-CED1AEA2A46A}" sibTransId="{59892764-B9F5-4CE6-A33E-886B13C45D5C}"/>
    <dgm:cxn modelId="{F94CCCC2-2FE5-4F14-80B3-13925BEAA71C}" type="presOf" srcId="{84B79948-5B19-4C78-9BA7-00828FCB7C0C}" destId="{314BF5E9-6D32-4139-B1EF-52F90BD3589D}" srcOrd="0" destOrd="0" presId="urn:microsoft.com/office/officeart/2005/8/layout/default"/>
    <dgm:cxn modelId="{965101CC-02D2-4017-B22C-9A406650C03A}" type="presOf" srcId="{D0895D99-5AA0-4CCE-8B73-FE41472C79C3}" destId="{A26D54B5-B4E7-40E8-9B74-824A0E4BCFBB}" srcOrd="0" destOrd="0" presId="urn:microsoft.com/office/officeart/2005/8/layout/default"/>
    <dgm:cxn modelId="{5D0E66CD-59FC-4AEA-875E-3FBD770FE4B7}" srcId="{A5A8BE3A-9990-4232-8912-110E6E121807}" destId="{30B572C5-5221-4FD0-8E3E-DC053333C8C3}" srcOrd="0" destOrd="0" parTransId="{0486EE9A-3E6E-43FB-AD24-21CD026C9C41}" sibTransId="{C98A1F1B-A0C7-43B9-9E01-A003135CB10F}"/>
    <dgm:cxn modelId="{8B2D1CD1-B395-4BD6-BFE4-891F3CD90739}" type="presOf" srcId="{F2479D3B-5491-487C-B349-8B92252484F4}" destId="{483AB9CE-7E99-4641-8A28-E74959ABA064}" srcOrd="0" destOrd="0" presId="urn:microsoft.com/office/officeart/2005/8/layout/default"/>
    <dgm:cxn modelId="{4058ADD6-81FF-4E15-B949-5602E8A5893C}" type="presOf" srcId="{30B572C5-5221-4FD0-8E3E-DC053333C8C3}" destId="{6956F062-E831-4C9D-8295-EBD859E85986}" srcOrd="0" destOrd="0" presId="urn:microsoft.com/office/officeart/2005/8/layout/default"/>
    <dgm:cxn modelId="{22D96BDA-6FF0-4276-9D61-B65E36C624A4}" srcId="{A5A8BE3A-9990-4232-8912-110E6E121807}" destId="{3A4AD095-B8AF-4668-916C-D465093EA655}" srcOrd="11" destOrd="0" parTransId="{CABA8938-F305-40CB-BC7C-E6D2B75C5E50}" sibTransId="{6DEF558F-1461-40A3-B660-305F6075B3AD}"/>
    <dgm:cxn modelId="{BB3CB6DF-4FC3-4CF3-9D4D-34B9DE27D0D5}" srcId="{A5A8BE3A-9990-4232-8912-110E6E121807}" destId="{BA24A286-25D9-46BA-BE57-54676FA1E3DF}" srcOrd="5" destOrd="0" parTransId="{2B5865D3-CFDB-4A67-A55A-89F722393BB5}" sibTransId="{A34CF339-3BCF-4C8D-A48C-3B167F1D3083}"/>
    <dgm:cxn modelId="{C8368EE4-6AE7-486C-BA5C-05CE32FAEDB4}" type="presOf" srcId="{AA483315-E412-498F-B60E-0DFFBECDA905}" destId="{65B48DC4-277D-4510-87DB-C69F1B7D6DD3}" srcOrd="0" destOrd="0" presId="urn:microsoft.com/office/officeart/2005/8/layout/default"/>
    <dgm:cxn modelId="{DA6BE3E4-31F0-46FA-B3FC-178B55BBF898}" srcId="{A5A8BE3A-9990-4232-8912-110E6E121807}" destId="{6CCC8163-9C03-44DC-8CD0-BE8BB1ECA829}" srcOrd="8" destOrd="0" parTransId="{AC8A5AFF-175A-4F41-AF35-DBEC5235A8A5}" sibTransId="{C8FCAC15-A25E-40E0-A3EB-7826ADFD9AB3}"/>
    <dgm:cxn modelId="{EBCBD3EB-317D-497D-8250-DECFB09C7BFD}" srcId="{A5A8BE3A-9990-4232-8912-110E6E121807}" destId="{F2479D3B-5491-487C-B349-8B92252484F4}" srcOrd="9" destOrd="0" parTransId="{3BA743DB-F0C7-4C18-8B32-924A3D02F4D8}" sibTransId="{88371F9B-07F6-4868-A36C-998E067F5033}"/>
    <dgm:cxn modelId="{00E347FC-FC7F-4383-B0B6-676EAF5658E2}" type="presOf" srcId="{1A32B718-F6E8-49ED-B712-04CBBA6EA4EA}" destId="{C28451D7-32EE-4871-A93E-B1ABC49EF3AC}" srcOrd="0" destOrd="0" presId="urn:microsoft.com/office/officeart/2005/8/layout/default"/>
    <dgm:cxn modelId="{1A394523-0490-4E28-A661-90D82AB4E7F5}" type="presParOf" srcId="{15814E76-000F-4776-B97F-8B899AD44BAC}" destId="{6956F062-E831-4C9D-8295-EBD859E85986}" srcOrd="0" destOrd="0" presId="urn:microsoft.com/office/officeart/2005/8/layout/default"/>
    <dgm:cxn modelId="{49CFC37B-B878-4477-B2D5-95A7D5323586}" type="presParOf" srcId="{15814E76-000F-4776-B97F-8B899AD44BAC}" destId="{83BE6824-ECE8-467C-8569-E2F8B857E995}" srcOrd="1" destOrd="0" presId="urn:microsoft.com/office/officeart/2005/8/layout/default"/>
    <dgm:cxn modelId="{3C57DDAF-3B53-442F-88F4-D39D7FC8EEA9}" type="presParOf" srcId="{15814E76-000F-4776-B97F-8B899AD44BAC}" destId="{314BF5E9-6D32-4139-B1EF-52F90BD3589D}" srcOrd="2" destOrd="0" presId="urn:microsoft.com/office/officeart/2005/8/layout/default"/>
    <dgm:cxn modelId="{E6106E51-66C0-47F1-BB6F-5680F886C0D6}" type="presParOf" srcId="{15814E76-000F-4776-B97F-8B899AD44BAC}" destId="{4877B61D-64F6-4AE7-BC77-59AA8DC2C961}" srcOrd="3" destOrd="0" presId="urn:microsoft.com/office/officeart/2005/8/layout/default"/>
    <dgm:cxn modelId="{6A7EF3BA-33BE-4026-8C4F-89FB2ECD77D4}" type="presParOf" srcId="{15814E76-000F-4776-B97F-8B899AD44BAC}" destId="{65B48DC4-277D-4510-87DB-C69F1B7D6DD3}" srcOrd="4" destOrd="0" presId="urn:microsoft.com/office/officeart/2005/8/layout/default"/>
    <dgm:cxn modelId="{E978870F-32EC-4642-867F-B7B3C1238271}" type="presParOf" srcId="{15814E76-000F-4776-B97F-8B899AD44BAC}" destId="{783803F8-6E7F-4EEA-AAD0-483B213E43F0}" srcOrd="5" destOrd="0" presId="urn:microsoft.com/office/officeart/2005/8/layout/default"/>
    <dgm:cxn modelId="{B32DDA6B-E06C-4639-A73E-0E6EC0A953AC}" type="presParOf" srcId="{15814E76-000F-4776-B97F-8B899AD44BAC}" destId="{C28451D7-32EE-4871-A93E-B1ABC49EF3AC}" srcOrd="6" destOrd="0" presId="urn:microsoft.com/office/officeart/2005/8/layout/default"/>
    <dgm:cxn modelId="{B5269FD8-C5AE-4D6F-826F-B715A910036E}" type="presParOf" srcId="{15814E76-000F-4776-B97F-8B899AD44BAC}" destId="{A43E9D34-925F-4655-AC4B-A55B519327B9}" srcOrd="7" destOrd="0" presId="urn:microsoft.com/office/officeart/2005/8/layout/default"/>
    <dgm:cxn modelId="{C056831E-F9CE-4166-8564-9F87B2A5531A}" type="presParOf" srcId="{15814E76-000F-4776-B97F-8B899AD44BAC}" destId="{B97059E4-569B-439D-ACCE-C703E8EBB9E0}" srcOrd="8" destOrd="0" presId="urn:microsoft.com/office/officeart/2005/8/layout/default"/>
    <dgm:cxn modelId="{181DF609-05EC-4C6B-9071-78AC5E0F7C5D}" type="presParOf" srcId="{15814E76-000F-4776-B97F-8B899AD44BAC}" destId="{F6EE2DDB-A1DE-4893-B327-CFE95B44129A}" srcOrd="9" destOrd="0" presId="urn:microsoft.com/office/officeart/2005/8/layout/default"/>
    <dgm:cxn modelId="{A9258478-B0D1-47A6-8E0B-88CE99AEF947}" type="presParOf" srcId="{15814E76-000F-4776-B97F-8B899AD44BAC}" destId="{1C95E413-6173-413A-912F-7DA1BB34D98F}" srcOrd="10" destOrd="0" presId="urn:microsoft.com/office/officeart/2005/8/layout/default"/>
    <dgm:cxn modelId="{82B054BC-3F06-4A8B-8CA7-32061C687B7F}" type="presParOf" srcId="{15814E76-000F-4776-B97F-8B899AD44BAC}" destId="{68AC4E92-8AE2-4175-AC30-74BB205C523D}" srcOrd="11" destOrd="0" presId="urn:microsoft.com/office/officeart/2005/8/layout/default"/>
    <dgm:cxn modelId="{DA78C75A-9B52-4B51-BF53-7320CF3FFE78}" type="presParOf" srcId="{15814E76-000F-4776-B97F-8B899AD44BAC}" destId="{A26D54B5-B4E7-40E8-9B74-824A0E4BCFBB}" srcOrd="12" destOrd="0" presId="urn:microsoft.com/office/officeart/2005/8/layout/default"/>
    <dgm:cxn modelId="{44C260C1-AF42-429E-9325-0420B3C68AEA}" type="presParOf" srcId="{15814E76-000F-4776-B97F-8B899AD44BAC}" destId="{68EBFB17-CAB3-420D-837A-15718F4AFEC2}" srcOrd="13" destOrd="0" presId="urn:microsoft.com/office/officeart/2005/8/layout/default"/>
    <dgm:cxn modelId="{AA685D7D-677F-4D63-97B4-E6DAFABD88B0}" type="presParOf" srcId="{15814E76-000F-4776-B97F-8B899AD44BAC}" destId="{00672C99-BC32-447E-BE26-36407AA2BDB2}" srcOrd="14" destOrd="0" presId="urn:microsoft.com/office/officeart/2005/8/layout/default"/>
    <dgm:cxn modelId="{E816047B-D037-4B44-96E6-FF5E75791545}" type="presParOf" srcId="{15814E76-000F-4776-B97F-8B899AD44BAC}" destId="{04BA77DB-C2CB-4B5C-B33C-74BA13CCFBA4}" srcOrd="15" destOrd="0" presId="urn:microsoft.com/office/officeart/2005/8/layout/default"/>
    <dgm:cxn modelId="{57E45F61-7EC3-4DFC-BBED-83B69EE72787}" type="presParOf" srcId="{15814E76-000F-4776-B97F-8B899AD44BAC}" destId="{4CCD97D0-30AC-4C6D-BD06-F8D29050925E}" srcOrd="16" destOrd="0" presId="urn:microsoft.com/office/officeart/2005/8/layout/default"/>
    <dgm:cxn modelId="{129F3466-5815-4106-9EE1-6D35B4FEBFDA}" type="presParOf" srcId="{15814E76-000F-4776-B97F-8B899AD44BAC}" destId="{F5570305-EA47-43E3-A112-D29B322D979B}" srcOrd="17" destOrd="0" presId="urn:microsoft.com/office/officeart/2005/8/layout/default"/>
    <dgm:cxn modelId="{EEF84328-EF31-41AC-9DB8-2FB95984FDCF}" type="presParOf" srcId="{15814E76-000F-4776-B97F-8B899AD44BAC}" destId="{483AB9CE-7E99-4641-8A28-E74959ABA064}" srcOrd="18" destOrd="0" presId="urn:microsoft.com/office/officeart/2005/8/layout/default"/>
    <dgm:cxn modelId="{534A5F73-85AE-47A2-B69A-C6C650309C36}" type="presParOf" srcId="{15814E76-000F-4776-B97F-8B899AD44BAC}" destId="{3ED9C730-58CB-48F6-A44B-7F354F869F48}" srcOrd="19" destOrd="0" presId="urn:microsoft.com/office/officeart/2005/8/layout/default"/>
    <dgm:cxn modelId="{F44FD44F-8C1A-47A8-BC0A-522B721B6B74}" type="presParOf" srcId="{15814E76-000F-4776-B97F-8B899AD44BAC}" destId="{EAD55615-8E89-44DC-83A8-7C3F87D1D88C}" srcOrd="20" destOrd="0" presId="urn:microsoft.com/office/officeart/2005/8/layout/default"/>
    <dgm:cxn modelId="{4B2AD502-83A6-4BE0-B454-9B6AFA152C56}" type="presParOf" srcId="{15814E76-000F-4776-B97F-8B899AD44BAC}" destId="{35A960D8-ECEB-4390-9F81-F1AAB2ECC6FC}" srcOrd="21" destOrd="0" presId="urn:microsoft.com/office/officeart/2005/8/layout/default"/>
    <dgm:cxn modelId="{EDEF8CB3-3234-43D9-BC31-6D3381030F7D}" type="presParOf" srcId="{15814E76-000F-4776-B97F-8B899AD44BAC}" destId="{498343EC-04AC-4CAD-8B5E-ABC16ACC2F20}" srcOrd="2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CDF3A72-4E7D-44E7-9126-943CBEB76C39}" type="doc">
      <dgm:prSet loTypeId="urn:microsoft.com/office/officeart/2005/8/layout/hierarchy4" loCatId="hierarchy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E90C112-028F-4005-BE5A-58F1022297C6}" type="parTrans" cxnId="{56153830-4554-4FE3-80A7-B173F2348EA8}">
      <dgm:prSet/>
      <dgm:spPr/>
      <dgm:t>
        <a:bodyPr/>
        <a:lstStyle/>
        <a:p>
          <a:endParaRPr lang="en-US"/>
        </a:p>
      </dgm:t>
    </dgm:pt>
    <dgm:pt modelId="{E709D1A9-032D-4046-915C-1A3C52F288E6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8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Molestowanie seksualne </a:t>
          </a:r>
          <a:r>
            <a:rPr lang="pl" sz="28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o niepożądane werbalne, niewerbalne lub fizyczne zachowanie o charakterze seksualnym, które narusza godność osoby.</a:t>
          </a:r>
        </a:p>
        <a:p>
          <a:r>
            <a:rPr lang="pl" sz="28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Istnieją dwa różne rodzaje molestowania seksualnego:</a:t>
          </a:r>
          <a:endParaRPr lang="en-US"/>
        </a:p>
      </dgm:t>
    </dgm:pt>
    <dgm:pt modelId="{D73A1FCF-5D89-4468-800A-D8F31CB13DD3}" type="parTrans" cxnId="{69BB1AF0-BA64-457A-B1F8-5D84CA40380F}">
      <dgm:prSet/>
      <dgm:spPr/>
      <dgm:t>
        <a:bodyPr/>
        <a:lstStyle/>
        <a:p>
          <a:endParaRPr lang="en-US"/>
        </a:p>
      </dgm:t>
    </dgm:pt>
    <dgm:pt modelId="{51D27A79-C8E2-42E1-AC9E-C97553C130EA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4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Quid Pro Quo</a:t>
          </a:r>
          <a:endParaRPr lang="en-GB">
            <a:solidFill>
              <a:srgbClr val="FF0000"/>
            </a:solidFill>
          </a:endParaRPr>
        </a:p>
        <a:p>
          <a:r>
            <a:rPr lang="pl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Quid Pro Quo to łacińskie słowo oznaczające „coś za coś” i oznacza oparte na decyzjach zawodowych o tym, czy ktoś akceptuje lub odrzuca niepożądane zachowania seksualne.</a:t>
          </a:r>
        </a:p>
        <a:p>
          <a:r>
            <a:rPr lang="pl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Może to obejmować zachowania seksualne, intymne lub uczuciowe.</a:t>
          </a:r>
        </a:p>
        <a:p>
          <a:r>
            <a:rPr lang="pl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Zawsze dotyczy to kierowników lub innych osób na stanowiskach władzy. </a:t>
          </a:r>
          <a:endParaRPr lang="en-US"/>
        </a:p>
      </dgm:t>
    </dgm:pt>
    <dgm:pt modelId="{B9D1F81C-EB2C-4FF9-8BBE-58D3F5068E79}" type="sibTrans" cxnId="{69BB1AF0-BA64-457A-B1F8-5D84CA40380F}">
      <dgm:prSet/>
      <dgm:spPr/>
      <dgm:t>
        <a:bodyPr/>
        <a:lstStyle/>
        <a:p>
          <a:endParaRPr lang="en-US"/>
        </a:p>
      </dgm:t>
    </dgm:pt>
    <dgm:pt modelId="{72A70C7C-CE84-4C90-BD05-A83F54C37871}" type="parTrans" cxnId="{DAE945EA-F8C7-47C0-8D73-407CD441476C}">
      <dgm:prSet/>
      <dgm:spPr/>
      <dgm:t>
        <a:bodyPr/>
        <a:lstStyle/>
        <a:p>
          <a:endParaRPr lang="en-US"/>
        </a:p>
      </dgm:t>
    </dgm:pt>
    <dgm:pt modelId="{404D2D27-F06D-476A-9332-E8BF77820EE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4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Wrogie środowisko pracy</a:t>
          </a:r>
          <a:r>
            <a:rPr lang="pl" sz="1400" b="0" i="0" strike="noStrike" cap="none" spc="0" baseline="0">
              <a:solidFill>
                <a:srgbClr val="FF0000"/>
              </a:solidFill>
              <a:effectLst/>
              <a:latin typeface="Calibri"/>
              <a:ea typeface="Calibri"/>
              <a:cs typeface="Calibri"/>
            </a:rPr>
            <a:t> </a:t>
          </a:r>
        </a:p>
        <a:p>
          <a:r>
            <a:rPr lang="pl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Niepożądane zachowanie, które tworzy zastraszające, wrogie, poniżające, poniżające lub obraźliwe środowisko pracy. </a:t>
          </a:r>
        </a:p>
        <a:p>
          <a:r>
            <a:rPr lang="pl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oże to być zachowanie werbalne, wizualne, fizyczne, cyfrowe lub pisemne. </a:t>
          </a:r>
        </a:p>
        <a:p>
          <a:r>
            <a:rPr lang="pl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Każdy – nie tylko ktoś na stanowisku władzy – może angażować się w tego rodzaju niezgodne z prawem zachowania. </a:t>
          </a:r>
          <a:endParaRPr lang="en-US"/>
        </a:p>
      </dgm:t>
    </dgm:pt>
    <dgm:pt modelId="{EED6236B-CB0B-475F-B61A-A7580C606347}" type="sibTrans" cxnId="{DAE945EA-F8C7-47C0-8D73-407CD441476C}">
      <dgm:prSet/>
      <dgm:spPr/>
      <dgm:t>
        <a:bodyPr/>
        <a:lstStyle/>
        <a:p>
          <a:endParaRPr lang="en-US"/>
        </a:p>
      </dgm:t>
    </dgm:pt>
    <dgm:pt modelId="{24DA7CF3-04CE-4B21-BB47-B688A733DCCB}" type="sibTrans" cxnId="{56153830-4554-4FE3-80A7-B173F2348EA8}">
      <dgm:prSet/>
      <dgm:spPr/>
      <dgm:t>
        <a:bodyPr/>
        <a:lstStyle/>
        <a:p>
          <a:endParaRPr lang="en-US"/>
        </a:p>
      </dgm:t>
    </dgm:pt>
    <dgm:pt modelId="{82C30EA1-251F-44D7-BE08-B40408335ACD}" type="pres">
      <dgm:prSet presAssocID="{3CDF3A72-4E7D-44E7-9126-943CBEB76C3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BB18B46-294A-49A7-B30A-B2315553F715}" type="pres">
      <dgm:prSet presAssocID="{E709D1A9-032D-4046-915C-1A3C52F288E6}" presName="vertOne" presStyleCnt="0"/>
      <dgm:spPr/>
    </dgm:pt>
    <dgm:pt modelId="{F0682F32-5C4B-42CE-AEF9-AB56A3FF7419}" type="pres">
      <dgm:prSet presAssocID="{E709D1A9-032D-4046-915C-1A3C52F288E6}" presName="txOne" presStyleLbl="node0" presStyleIdx="0" presStyleCnt="1">
        <dgm:presLayoutVars>
          <dgm:chPref val="3"/>
        </dgm:presLayoutVars>
      </dgm:prSet>
      <dgm:spPr/>
    </dgm:pt>
    <dgm:pt modelId="{47C39050-60A1-45EB-A1DD-8FA91BF0A74E}" type="pres">
      <dgm:prSet presAssocID="{E709D1A9-032D-4046-915C-1A3C52F288E6}" presName="parTransOne" presStyleCnt="0"/>
      <dgm:spPr/>
    </dgm:pt>
    <dgm:pt modelId="{ED6B47B3-E8E0-457E-AE81-9960865A6ADF}" type="pres">
      <dgm:prSet presAssocID="{E709D1A9-032D-4046-915C-1A3C52F288E6}" presName="horzOne" presStyleCnt="0"/>
      <dgm:spPr/>
    </dgm:pt>
    <dgm:pt modelId="{15624F3B-1895-4B52-823A-54BED7D68C96}" type="pres">
      <dgm:prSet presAssocID="{51D27A79-C8E2-42E1-AC9E-C97553C130EA}" presName="vertTwo" presStyleCnt="0"/>
      <dgm:spPr/>
    </dgm:pt>
    <dgm:pt modelId="{2BBD0B2E-4BE4-48AC-A125-1761F93E54D0}" type="pres">
      <dgm:prSet presAssocID="{51D27A79-C8E2-42E1-AC9E-C97553C130EA}" presName="txTwo" presStyleLbl="node2" presStyleIdx="0" presStyleCnt="2">
        <dgm:presLayoutVars>
          <dgm:chPref val="3"/>
        </dgm:presLayoutVars>
      </dgm:prSet>
      <dgm:spPr/>
    </dgm:pt>
    <dgm:pt modelId="{B6D935AB-6C09-464B-8F9B-2DF172217FA9}" type="pres">
      <dgm:prSet presAssocID="{51D27A79-C8E2-42E1-AC9E-C97553C130EA}" presName="horzTwo" presStyleCnt="0"/>
      <dgm:spPr/>
    </dgm:pt>
    <dgm:pt modelId="{B06879F3-AC6C-40F1-8DBB-CF135CEB9770}" type="pres">
      <dgm:prSet presAssocID="{B9D1F81C-EB2C-4FF9-8BBE-58D3F5068E79}" presName="sibSpaceTwo" presStyleCnt="0"/>
      <dgm:spPr/>
    </dgm:pt>
    <dgm:pt modelId="{0B186A5D-5DB3-4AF4-BCA8-CD369901CAD6}" type="pres">
      <dgm:prSet presAssocID="{404D2D27-F06D-476A-9332-E8BF77820EE3}" presName="vertTwo" presStyleCnt="0"/>
      <dgm:spPr/>
    </dgm:pt>
    <dgm:pt modelId="{88F1ABA4-3573-4291-80C5-CCCD060891F4}" type="pres">
      <dgm:prSet presAssocID="{404D2D27-F06D-476A-9332-E8BF77820EE3}" presName="txTwo" presStyleLbl="node2" presStyleIdx="1" presStyleCnt="2">
        <dgm:presLayoutVars>
          <dgm:chPref val="3"/>
        </dgm:presLayoutVars>
      </dgm:prSet>
      <dgm:spPr/>
    </dgm:pt>
    <dgm:pt modelId="{8B56421F-E0C0-4619-AA40-3517D4B3DB3B}" type="pres">
      <dgm:prSet presAssocID="{404D2D27-F06D-476A-9332-E8BF77820EE3}" presName="horzTwo" presStyleCnt="0"/>
      <dgm:spPr/>
    </dgm:pt>
  </dgm:ptLst>
  <dgm:cxnLst>
    <dgm:cxn modelId="{17D3C523-FF18-4E9C-B27B-0BFFADEAD69A}" type="presOf" srcId="{404D2D27-F06D-476A-9332-E8BF77820EE3}" destId="{88F1ABA4-3573-4291-80C5-CCCD060891F4}" srcOrd="0" destOrd="0" presId="urn:microsoft.com/office/officeart/2005/8/layout/hierarchy4"/>
    <dgm:cxn modelId="{56153830-4554-4FE3-80A7-B173F2348EA8}" srcId="{3CDF3A72-4E7D-44E7-9126-943CBEB76C39}" destId="{E709D1A9-032D-4046-915C-1A3C52F288E6}" srcOrd="0" destOrd="0" parTransId="{CE90C112-028F-4005-BE5A-58F1022297C6}" sibTransId="{24DA7CF3-04CE-4B21-BB47-B688A733DCCB}"/>
    <dgm:cxn modelId="{0A9C8F9E-CB8D-43F3-8049-3C616D4DAEFD}" type="presOf" srcId="{3CDF3A72-4E7D-44E7-9126-943CBEB76C39}" destId="{82C30EA1-251F-44D7-BE08-B40408335ACD}" srcOrd="0" destOrd="0" presId="urn:microsoft.com/office/officeart/2005/8/layout/hierarchy4"/>
    <dgm:cxn modelId="{0BAEF3B3-ED7B-4C7A-89AF-A6F61C8BD96C}" type="presOf" srcId="{51D27A79-C8E2-42E1-AC9E-C97553C130EA}" destId="{2BBD0B2E-4BE4-48AC-A125-1761F93E54D0}" srcOrd="0" destOrd="0" presId="urn:microsoft.com/office/officeart/2005/8/layout/hierarchy4"/>
    <dgm:cxn modelId="{829706CB-5197-4C73-BB50-9C9F2050DB11}" type="presOf" srcId="{E709D1A9-032D-4046-915C-1A3C52F288E6}" destId="{F0682F32-5C4B-42CE-AEF9-AB56A3FF7419}" srcOrd="0" destOrd="0" presId="urn:microsoft.com/office/officeart/2005/8/layout/hierarchy4"/>
    <dgm:cxn modelId="{DAE945EA-F8C7-47C0-8D73-407CD441476C}" srcId="{E709D1A9-032D-4046-915C-1A3C52F288E6}" destId="{404D2D27-F06D-476A-9332-E8BF77820EE3}" srcOrd="1" destOrd="0" parTransId="{72A70C7C-CE84-4C90-BD05-A83F54C37871}" sibTransId="{EED6236B-CB0B-475F-B61A-A7580C606347}"/>
    <dgm:cxn modelId="{69BB1AF0-BA64-457A-B1F8-5D84CA40380F}" srcId="{E709D1A9-032D-4046-915C-1A3C52F288E6}" destId="{51D27A79-C8E2-42E1-AC9E-C97553C130EA}" srcOrd="0" destOrd="0" parTransId="{D73A1FCF-5D89-4468-800A-D8F31CB13DD3}" sibTransId="{B9D1F81C-EB2C-4FF9-8BBE-58D3F5068E79}"/>
    <dgm:cxn modelId="{DED7BE36-95F1-41BB-80B4-8E46FDA8A51B}" type="presParOf" srcId="{82C30EA1-251F-44D7-BE08-B40408335ACD}" destId="{ABB18B46-294A-49A7-B30A-B2315553F715}" srcOrd="0" destOrd="0" presId="urn:microsoft.com/office/officeart/2005/8/layout/hierarchy4"/>
    <dgm:cxn modelId="{E2E0B042-37B1-4566-B2C6-F4C33367F895}" type="presParOf" srcId="{ABB18B46-294A-49A7-B30A-B2315553F715}" destId="{F0682F32-5C4B-42CE-AEF9-AB56A3FF7419}" srcOrd="0" destOrd="0" presId="urn:microsoft.com/office/officeart/2005/8/layout/hierarchy4"/>
    <dgm:cxn modelId="{C2CBFAA5-7344-4FD6-9A3F-0D12D07DF69D}" type="presParOf" srcId="{ABB18B46-294A-49A7-B30A-B2315553F715}" destId="{47C39050-60A1-45EB-A1DD-8FA91BF0A74E}" srcOrd="1" destOrd="0" presId="urn:microsoft.com/office/officeart/2005/8/layout/hierarchy4"/>
    <dgm:cxn modelId="{7C9D762B-0C87-42FC-808C-757FAACDEE62}" type="presParOf" srcId="{ABB18B46-294A-49A7-B30A-B2315553F715}" destId="{ED6B47B3-E8E0-457E-AE81-9960865A6ADF}" srcOrd="2" destOrd="0" presId="urn:microsoft.com/office/officeart/2005/8/layout/hierarchy4"/>
    <dgm:cxn modelId="{E574D7EE-B201-4DF4-98C4-C28DB4407020}" type="presParOf" srcId="{ED6B47B3-E8E0-457E-AE81-9960865A6ADF}" destId="{15624F3B-1895-4B52-823A-54BED7D68C96}" srcOrd="0" destOrd="0" presId="urn:microsoft.com/office/officeart/2005/8/layout/hierarchy4"/>
    <dgm:cxn modelId="{94406B2C-BCB4-40B2-BF8B-E443BC9C72A9}" type="presParOf" srcId="{15624F3B-1895-4B52-823A-54BED7D68C96}" destId="{2BBD0B2E-4BE4-48AC-A125-1761F93E54D0}" srcOrd="0" destOrd="0" presId="urn:microsoft.com/office/officeart/2005/8/layout/hierarchy4"/>
    <dgm:cxn modelId="{936D16CC-CCB2-42F7-9CE1-DCDD9826414E}" type="presParOf" srcId="{15624F3B-1895-4B52-823A-54BED7D68C96}" destId="{B6D935AB-6C09-464B-8F9B-2DF172217FA9}" srcOrd="1" destOrd="0" presId="urn:microsoft.com/office/officeart/2005/8/layout/hierarchy4"/>
    <dgm:cxn modelId="{D1882066-3E9E-4870-A39F-C6E71A5E7DE8}" type="presParOf" srcId="{ED6B47B3-E8E0-457E-AE81-9960865A6ADF}" destId="{B06879F3-AC6C-40F1-8DBB-CF135CEB9770}" srcOrd="1" destOrd="0" presId="urn:microsoft.com/office/officeart/2005/8/layout/hierarchy4"/>
    <dgm:cxn modelId="{2CA9BE9E-E2F6-4C85-A82A-E1CC25D5F8AB}" type="presParOf" srcId="{ED6B47B3-E8E0-457E-AE81-9960865A6ADF}" destId="{0B186A5D-5DB3-4AF4-BCA8-CD369901CAD6}" srcOrd="2" destOrd="0" presId="urn:microsoft.com/office/officeart/2005/8/layout/hierarchy4"/>
    <dgm:cxn modelId="{DC08D98A-3690-4E18-A787-E36D343FDBB0}" type="presParOf" srcId="{0B186A5D-5DB3-4AF4-BCA8-CD369901CAD6}" destId="{88F1ABA4-3573-4291-80C5-CCCD060891F4}" srcOrd="0" destOrd="0" presId="urn:microsoft.com/office/officeart/2005/8/layout/hierarchy4"/>
    <dgm:cxn modelId="{F18CE35F-AF96-4E2D-B05F-DA8009179B00}" type="presParOf" srcId="{0B186A5D-5DB3-4AF4-BCA8-CD369901CAD6}" destId="{8B56421F-E0C0-4619-AA40-3517D4B3DB3B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8179FEE-AD99-4ACA-935F-5EA74350364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CEB55FE-D4C3-4C96-A765-B1B2DE801E09}" type="parTrans" cxnId="{72A9494C-519D-469C-B3A7-8B4E09BF02A5}">
      <dgm:prSet/>
      <dgm:spPr/>
      <dgm:t>
        <a:bodyPr/>
        <a:lstStyle/>
        <a:p>
          <a:endParaRPr lang="en-US"/>
        </a:p>
      </dgm:t>
    </dgm:pt>
    <dgm:pt modelId="{285BBEBE-0734-4A0A-AC7C-BCC18058FA1C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rogie środowisko pracy może obejmować:</a:t>
          </a:r>
          <a:endParaRPr lang="en-US"/>
        </a:p>
      </dgm:t>
    </dgm:pt>
    <dgm:pt modelId="{42D87832-43F4-4BBA-AC18-2696167CC65A}" type="parTrans" cxnId="{008B03E7-0B3D-45DF-B637-8F5EE537961A}">
      <dgm:prSet/>
      <dgm:spPr/>
      <dgm:t>
        <a:bodyPr/>
        <a:lstStyle/>
        <a:p>
          <a:endParaRPr lang="en-US"/>
        </a:p>
      </dgm:t>
    </dgm:pt>
    <dgm:pt modelId="{30D3E5F8-452C-48F4-8796-2E567C55EECB}">
      <dgm:prSet custT="1"/>
      <dgm:spPr>
        <a:noFill/>
        <a:ln>
          <a:noFill/>
        </a:ln>
      </dgm:spPr>
      <dgm:t>
        <a:bodyPr/>
        <a:lstStyle/>
        <a:p>
          <a:r>
            <a:rPr lang="pl" sz="2400" b="0" i="0" strike="noStrike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jedynczy, poważny incydent</a:t>
          </a:r>
          <a:endParaRPr lang="en-US" sz="2400" dirty="0"/>
        </a:p>
      </dgm:t>
    </dgm:pt>
    <dgm:pt modelId="{295691BB-E9F3-4CE3-9494-876350D324AA}" type="sibTrans" cxnId="{008B03E7-0B3D-45DF-B637-8F5EE537961A}">
      <dgm:prSet/>
      <dgm:spPr/>
      <dgm:t>
        <a:bodyPr/>
        <a:lstStyle/>
        <a:p>
          <a:endParaRPr lang="en-US"/>
        </a:p>
      </dgm:t>
    </dgm:pt>
    <dgm:pt modelId="{579DADD7-F02E-4DDF-A6ED-B478DE045EC5}" type="parTrans" cxnId="{3D8DB9D6-D7B5-4926-957E-3C5DA95DCA89}">
      <dgm:prSet/>
      <dgm:spPr/>
      <dgm:t>
        <a:bodyPr/>
        <a:lstStyle/>
        <a:p>
          <a:endParaRPr lang="en-US"/>
        </a:p>
      </dgm:t>
    </dgm:pt>
    <dgm:pt modelId="{5642C7EE-3FA5-48FC-90AC-17A317932B02}">
      <dgm:prSet custT="1"/>
      <dgm:spPr>
        <a:noFill/>
        <a:ln>
          <a:noFill/>
        </a:ln>
      </dgm:spPr>
      <dgm:t>
        <a:bodyPr/>
        <a:lstStyle/>
        <a:p>
          <a:r>
            <a:rPr lang="pl" sz="2400" b="0" i="0" strike="noStrike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chemat mniejszych incydentów, które budują się z czasem</a:t>
          </a:r>
          <a:endParaRPr lang="en-US" sz="2400" dirty="0"/>
        </a:p>
      </dgm:t>
    </dgm:pt>
    <dgm:pt modelId="{E3775CD1-D340-4E93-990E-06E64EF14947}" type="sibTrans" cxnId="{3D8DB9D6-D7B5-4926-957E-3C5DA95DCA89}">
      <dgm:prSet/>
      <dgm:spPr/>
      <dgm:t>
        <a:bodyPr/>
        <a:lstStyle/>
        <a:p>
          <a:endParaRPr lang="en-US"/>
        </a:p>
      </dgm:t>
    </dgm:pt>
    <dgm:pt modelId="{CD81B35C-B2B0-4868-BBD5-6826E5EEF160}" type="sibTrans" cxnId="{72A9494C-519D-469C-B3A7-8B4E09BF02A5}">
      <dgm:prSet/>
      <dgm:spPr/>
      <dgm:t>
        <a:bodyPr/>
        <a:lstStyle/>
        <a:p>
          <a:endParaRPr lang="en-US"/>
        </a:p>
      </dgm:t>
    </dgm:pt>
    <dgm:pt modelId="{189A9E5F-C66B-4AAA-B987-7459E9AD8F08}" type="parTrans" cxnId="{4F3E11A1-7A0A-483B-B1D7-48338CF5EB4D}">
      <dgm:prSet/>
      <dgm:spPr/>
      <dgm:t>
        <a:bodyPr/>
        <a:lstStyle/>
        <a:p>
          <a:endParaRPr lang="en-US"/>
        </a:p>
      </dgm:t>
    </dgm:pt>
    <dgm:pt modelId="{BF4022B4-D80B-461E-98CB-999DC58D8A8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2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chemat postępowania może być niewidoczny dla innych </a:t>
          </a:r>
          <a:endParaRPr lang="en-US" sz="2400"/>
        </a:p>
      </dgm:t>
    </dgm:pt>
    <dgm:pt modelId="{B70CA4F2-DAD3-4114-9B42-94805D0B5735}" type="sibTrans" cxnId="{4F3E11A1-7A0A-483B-B1D7-48338CF5EB4D}">
      <dgm:prSet/>
      <dgm:spPr/>
      <dgm:t>
        <a:bodyPr/>
        <a:lstStyle/>
        <a:p>
          <a:endParaRPr lang="en-US"/>
        </a:p>
      </dgm:t>
    </dgm:pt>
    <dgm:pt modelId="{3BF44B03-DF2D-4D64-A3F2-5799B0E59223}" type="pres">
      <dgm:prSet presAssocID="{98179FEE-AD99-4ACA-935F-5EA74350364A}" presName="linear" presStyleCnt="0">
        <dgm:presLayoutVars>
          <dgm:animLvl val="lvl"/>
          <dgm:resizeHandles val="exact"/>
        </dgm:presLayoutVars>
      </dgm:prSet>
      <dgm:spPr/>
    </dgm:pt>
    <dgm:pt modelId="{9348B920-B1E0-4886-9BA5-B1554C666682}" type="pres">
      <dgm:prSet presAssocID="{285BBEBE-0734-4A0A-AC7C-BCC18058FA1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7652FA92-FF02-4F9E-A627-EE14DD86AB00}" type="pres">
      <dgm:prSet presAssocID="{285BBEBE-0734-4A0A-AC7C-BCC18058FA1C}" presName="childText" presStyleLbl="revTx" presStyleIdx="0" presStyleCnt="1">
        <dgm:presLayoutVars>
          <dgm:bulletEnabled val="1"/>
        </dgm:presLayoutVars>
      </dgm:prSet>
      <dgm:spPr/>
    </dgm:pt>
    <dgm:pt modelId="{33BCEC26-C14D-4C1B-A0A8-57892C4646B9}" type="pres">
      <dgm:prSet presAssocID="{BF4022B4-D80B-461E-98CB-999DC58D8A83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73EE6C0C-D857-4DE4-AC55-C4D5BC9A6E37}" type="presOf" srcId="{BF4022B4-D80B-461E-98CB-999DC58D8A83}" destId="{33BCEC26-C14D-4C1B-A0A8-57892C4646B9}" srcOrd="0" destOrd="0" presId="urn:microsoft.com/office/officeart/2005/8/layout/vList2"/>
    <dgm:cxn modelId="{2E404D5B-F1C8-46A3-B779-B64430CEF110}" type="presOf" srcId="{285BBEBE-0734-4A0A-AC7C-BCC18058FA1C}" destId="{9348B920-B1E0-4886-9BA5-B1554C666682}" srcOrd="0" destOrd="0" presId="urn:microsoft.com/office/officeart/2005/8/layout/vList2"/>
    <dgm:cxn modelId="{72A9494C-519D-469C-B3A7-8B4E09BF02A5}" srcId="{98179FEE-AD99-4ACA-935F-5EA74350364A}" destId="{285BBEBE-0734-4A0A-AC7C-BCC18058FA1C}" srcOrd="0" destOrd="0" parTransId="{9CEB55FE-D4C3-4C96-A765-B1B2DE801E09}" sibTransId="{CD81B35C-B2B0-4868-BBD5-6826E5EEF160}"/>
    <dgm:cxn modelId="{C623BD80-0FA5-4A3F-958C-FA96E6135AE0}" type="presOf" srcId="{30D3E5F8-452C-48F4-8796-2E567C55EECB}" destId="{7652FA92-FF02-4F9E-A627-EE14DD86AB00}" srcOrd="0" destOrd="0" presId="urn:microsoft.com/office/officeart/2005/8/layout/vList2"/>
    <dgm:cxn modelId="{4F3E11A1-7A0A-483B-B1D7-48338CF5EB4D}" srcId="{98179FEE-AD99-4ACA-935F-5EA74350364A}" destId="{BF4022B4-D80B-461E-98CB-999DC58D8A83}" srcOrd="1" destOrd="0" parTransId="{189A9E5F-C66B-4AAA-B987-7459E9AD8F08}" sibTransId="{B70CA4F2-DAD3-4114-9B42-94805D0B5735}"/>
    <dgm:cxn modelId="{FB0634CD-2351-4721-986E-97032650C0DF}" type="presOf" srcId="{5642C7EE-3FA5-48FC-90AC-17A317932B02}" destId="{7652FA92-FF02-4F9E-A627-EE14DD86AB00}" srcOrd="0" destOrd="1" presId="urn:microsoft.com/office/officeart/2005/8/layout/vList2"/>
    <dgm:cxn modelId="{3D8DB9D6-D7B5-4926-957E-3C5DA95DCA89}" srcId="{285BBEBE-0734-4A0A-AC7C-BCC18058FA1C}" destId="{5642C7EE-3FA5-48FC-90AC-17A317932B02}" srcOrd="1" destOrd="0" parTransId="{579DADD7-F02E-4DDF-A6ED-B478DE045EC5}" sibTransId="{E3775CD1-D340-4E93-990E-06E64EF14947}"/>
    <dgm:cxn modelId="{008B03E7-0B3D-45DF-B637-8F5EE537961A}" srcId="{285BBEBE-0734-4A0A-AC7C-BCC18058FA1C}" destId="{30D3E5F8-452C-48F4-8796-2E567C55EECB}" srcOrd="0" destOrd="0" parTransId="{42D87832-43F4-4BBA-AC18-2696167CC65A}" sibTransId="{295691BB-E9F3-4CE3-9494-876350D324AA}"/>
    <dgm:cxn modelId="{0C0CABE9-C4D6-4114-89BE-E1FBF9A93966}" type="presOf" srcId="{98179FEE-AD99-4ACA-935F-5EA74350364A}" destId="{3BF44B03-DF2D-4D64-A3F2-5799B0E59223}" srcOrd="0" destOrd="0" presId="urn:microsoft.com/office/officeart/2005/8/layout/vList2"/>
    <dgm:cxn modelId="{3028D071-6E1D-42F2-A782-2F9097A4DFC8}" type="presParOf" srcId="{3BF44B03-DF2D-4D64-A3F2-5799B0E59223}" destId="{9348B920-B1E0-4886-9BA5-B1554C666682}" srcOrd="0" destOrd="0" presId="urn:microsoft.com/office/officeart/2005/8/layout/vList2"/>
    <dgm:cxn modelId="{B265F6C6-B6B8-4158-8EAF-EEBB17C00D7B}" type="presParOf" srcId="{3BF44B03-DF2D-4D64-A3F2-5799B0E59223}" destId="{7652FA92-FF02-4F9E-A627-EE14DD86AB00}" srcOrd="1" destOrd="0" presId="urn:microsoft.com/office/officeart/2005/8/layout/vList2"/>
    <dgm:cxn modelId="{053421F6-253E-468E-9CFA-0E5BB7D32A1E}" type="presParOf" srcId="{3BF44B03-DF2D-4D64-A3F2-5799B0E59223}" destId="{33BCEC26-C14D-4C1B-A0A8-57892C4646B9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58039EE-AE95-403B-AC13-37ADF24CD098}" type="doc">
      <dgm:prSet loTypeId="urn:microsoft.com/office/officeart/2009/3/layout/HorizontalOrganizationChart" loCatId="hierarchy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1A2282E7-E75F-4CBB-B6CA-E288DAE36888}" type="parTrans" cxnId="{2EECB4A0-9E37-4AEB-BA00-BE3AA3709B40}">
      <dgm:prSet/>
      <dgm:spPr/>
      <dgm:t>
        <a:bodyPr/>
        <a:lstStyle/>
        <a:p>
          <a:endParaRPr lang="en-US" sz="3200"/>
        </a:p>
      </dgm:t>
    </dgm:pt>
    <dgm:pt modelId="{4EC82B13-A762-48C6-B64B-E54C118DD79C}">
      <dgm:prSet custT="1"/>
      <dgm:spPr/>
      <dgm:t>
        <a:bodyPr/>
        <a:lstStyle/>
        <a:p>
          <a:r>
            <a:rPr lang="pl" sz="32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tereotypy dotyczące płci to wyobrażane wcześniej pomysły dotyczące tego, jak ktoś powinien być, zachowywać się lub zachowywać się w oparciu o swoją płeć. </a:t>
          </a:r>
          <a:endParaRPr lang="en-US" sz="3200" dirty="0"/>
        </a:p>
      </dgm:t>
    </dgm:pt>
    <dgm:pt modelId="{CB7DC1B6-385A-4B8E-BF6A-03802530089F}" type="sibTrans" cxnId="{2EECB4A0-9E37-4AEB-BA00-BE3AA3709B40}">
      <dgm:prSet/>
      <dgm:spPr/>
      <dgm:t>
        <a:bodyPr/>
        <a:lstStyle/>
        <a:p>
          <a:endParaRPr lang="en-US" sz="3200"/>
        </a:p>
      </dgm:t>
    </dgm:pt>
    <dgm:pt modelId="{988ADC6B-3C2E-4E0C-89A0-794AD8D901E9}" type="parTrans" cxnId="{D038932F-6399-483E-916A-0379519464FE}">
      <dgm:prSet/>
      <dgm:spPr/>
      <dgm:t>
        <a:bodyPr/>
        <a:lstStyle/>
        <a:p>
          <a:endParaRPr lang="en-US" sz="3200"/>
        </a:p>
      </dgm:t>
    </dgm:pt>
    <dgm:pt modelId="{C0B314DE-8C9A-4622-9124-4EAC4C631C63}">
      <dgm:prSet custT="1"/>
      <dgm:spPr/>
      <dgm:t>
        <a:bodyPr/>
        <a:lstStyle/>
        <a:p>
          <a:r>
            <a:rPr lang="pl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Na przykład: Prosisz </a:t>
          </a:r>
          <a:r>
            <a:rPr lang="pl" sz="3200" b="0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tylko</a:t>
          </a:r>
          <a:r>
            <a:rPr lang="pl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kobiety o kawę i przekąski do sali konferencyjnej na nadchodzące spotkanie.</a:t>
          </a:r>
          <a:endParaRPr lang="en-US" sz="3200"/>
        </a:p>
      </dgm:t>
    </dgm:pt>
    <dgm:pt modelId="{A52C1081-60BD-40F3-8777-F01D735B8ADD}" type="sibTrans" cxnId="{D038932F-6399-483E-916A-0379519464FE}">
      <dgm:prSet/>
      <dgm:spPr/>
      <dgm:t>
        <a:bodyPr/>
        <a:lstStyle/>
        <a:p>
          <a:endParaRPr lang="en-US" sz="3200"/>
        </a:p>
      </dgm:t>
    </dgm:pt>
    <dgm:pt modelId="{D897512D-1C5A-425D-A4CA-5FD67064C449}" type="pres">
      <dgm:prSet presAssocID="{F58039EE-AE95-403B-AC13-37ADF24CD09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A15FFC2-0A3D-49A0-A616-0230EDFF10F9}" type="pres">
      <dgm:prSet presAssocID="{4EC82B13-A762-48C6-B64B-E54C118DD79C}" presName="hierRoot1" presStyleCnt="0">
        <dgm:presLayoutVars>
          <dgm:hierBranch val="init"/>
        </dgm:presLayoutVars>
      </dgm:prSet>
      <dgm:spPr/>
    </dgm:pt>
    <dgm:pt modelId="{19D8EA44-4891-4876-A3FD-75C069271127}" type="pres">
      <dgm:prSet presAssocID="{4EC82B13-A762-48C6-B64B-E54C118DD79C}" presName="rootComposite1" presStyleCnt="0"/>
      <dgm:spPr/>
    </dgm:pt>
    <dgm:pt modelId="{4EDE4789-F2C4-48F7-AD1A-1BC4182425B9}" type="pres">
      <dgm:prSet presAssocID="{4EC82B13-A762-48C6-B64B-E54C118DD79C}" presName="rootText1" presStyleLbl="node0" presStyleIdx="0" presStyleCnt="2" custScaleY="111224">
        <dgm:presLayoutVars>
          <dgm:chPref val="3"/>
        </dgm:presLayoutVars>
      </dgm:prSet>
      <dgm:spPr/>
    </dgm:pt>
    <dgm:pt modelId="{5C8871E6-F55F-4AAC-9444-953BDC8BFF40}" type="pres">
      <dgm:prSet presAssocID="{4EC82B13-A762-48C6-B64B-E54C118DD79C}" presName="rootConnector1" presStyleLbl="node1" presStyleIdx="0" presStyleCnt="0"/>
      <dgm:spPr/>
    </dgm:pt>
    <dgm:pt modelId="{21E6A1A2-09CA-4457-8704-98B51B2825B1}" type="pres">
      <dgm:prSet presAssocID="{4EC82B13-A762-48C6-B64B-E54C118DD79C}" presName="hierChild2" presStyleCnt="0"/>
      <dgm:spPr/>
    </dgm:pt>
    <dgm:pt modelId="{08E6EC52-31E3-4246-B7D1-AE148E6A9594}" type="pres">
      <dgm:prSet presAssocID="{4EC82B13-A762-48C6-B64B-E54C118DD79C}" presName="hierChild3" presStyleCnt="0"/>
      <dgm:spPr/>
    </dgm:pt>
    <dgm:pt modelId="{641A1FB8-31EA-4400-89B2-B84BF9876F04}" type="pres">
      <dgm:prSet presAssocID="{C0B314DE-8C9A-4622-9124-4EAC4C631C63}" presName="hierRoot1" presStyleCnt="0">
        <dgm:presLayoutVars>
          <dgm:hierBranch val="init"/>
        </dgm:presLayoutVars>
      </dgm:prSet>
      <dgm:spPr/>
    </dgm:pt>
    <dgm:pt modelId="{2215DDD9-40C1-42ED-8100-DA0EF97500ED}" type="pres">
      <dgm:prSet presAssocID="{C0B314DE-8C9A-4622-9124-4EAC4C631C63}" presName="rootComposite1" presStyleCnt="0"/>
      <dgm:spPr/>
    </dgm:pt>
    <dgm:pt modelId="{C106FE37-78FC-4B91-AB63-2959EC40C132}" type="pres">
      <dgm:prSet presAssocID="{C0B314DE-8C9A-4622-9124-4EAC4C631C63}" presName="rootText1" presStyleLbl="node0" presStyleIdx="1" presStyleCnt="2">
        <dgm:presLayoutVars>
          <dgm:chPref val="3"/>
        </dgm:presLayoutVars>
      </dgm:prSet>
      <dgm:spPr/>
    </dgm:pt>
    <dgm:pt modelId="{860FFD42-6009-4881-8CA6-B334DA9A8178}" type="pres">
      <dgm:prSet presAssocID="{C0B314DE-8C9A-4622-9124-4EAC4C631C63}" presName="rootConnector1" presStyleLbl="node1" presStyleIdx="0" presStyleCnt="0"/>
      <dgm:spPr/>
    </dgm:pt>
    <dgm:pt modelId="{5CBC7A73-AC05-40F3-8431-9DC6AC782F09}" type="pres">
      <dgm:prSet presAssocID="{C0B314DE-8C9A-4622-9124-4EAC4C631C63}" presName="hierChild2" presStyleCnt="0"/>
      <dgm:spPr/>
    </dgm:pt>
    <dgm:pt modelId="{BCE2ECC5-6A04-4163-8498-00F0736A2636}" type="pres">
      <dgm:prSet presAssocID="{C0B314DE-8C9A-4622-9124-4EAC4C631C63}" presName="hierChild3" presStyleCnt="0"/>
      <dgm:spPr/>
    </dgm:pt>
  </dgm:ptLst>
  <dgm:cxnLst>
    <dgm:cxn modelId="{5BA8BF05-155D-493C-B863-B6E74AC55D31}" type="presOf" srcId="{4EC82B13-A762-48C6-B64B-E54C118DD79C}" destId="{5C8871E6-F55F-4AAC-9444-953BDC8BFF40}" srcOrd="1" destOrd="0" presId="urn:microsoft.com/office/officeart/2009/3/layout/HorizontalOrganizationChart"/>
    <dgm:cxn modelId="{D038932F-6399-483E-916A-0379519464FE}" srcId="{F58039EE-AE95-403B-AC13-37ADF24CD098}" destId="{C0B314DE-8C9A-4622-9124-4EAC4C631C63}" srcOrd="1" destOrd="0" parTransId="{988ADC6B-3C2E-4E0C-89A0-794AD8D901E9}" sibTransId="{A52C1081-60BD-40F3-8777-F01D735B8ADD}"/>
    <dgm:cxn modelId="{3031453E-1F6E-4E62-A801-E2569C43237B}" type="presOf" srcId="{F58039EE-AE95-403B-AC13-37ADF24CD098}" destId="{D897512D-1C5A-425D-A4CA-5FD67064C449}" srcOrd="0" destOrd="0" presId="urn:microsoft.com/office/officeart/2009/3/layout/HorizontalOrganizationChart"/>
    <dgm:cxn modelId="{1F58CE9D-CA91-4635-8067-36E33F268AB1}" type="presOf" srcId="{4EC82B13-A762-48C6-B64B-E54C118DD79C}" destId="{4EDE4789-F2C4-48F7-AD1A-1BC4182425B9}" srcOrd="0" destOrd="0" presId="urn:microsoft.com/office/officeart/2009/3/layout/HorizontalOrganizationChart"/>
    <dgm:cxn modelId="{2EECB4A0-9E37-4AEB-BA00-BE3AA3709B40}" srcId="{F58039EE-AE95-403B-AC13-37ADF24CD098}" destId="{4EC82B13-A762-48C6-B64B-E54C118DD79C}" srcOrd="0" destOrd="0" parTransId="{1A2282E7-E75F-4CBB-B6CA-E288DAE36888}" sibTransId="{CB7DC1B6-385A-4B8E-BF6A-03802530089F}"/>
    <dgm:cxn modelId="{A6AA66B1-BFE1-45CB-A9FC-FFACE844346E}" type="presOf" srcId="{C0B314DE-8C9A-4622-9124-4EAC4C631C63}" destId="{860FFD42-6009-4881-8CA6-B334DA9A8178}" srcOrd="1" destOrd="0" presId="urn:microsoft.com/office/officeart/2009/3/layout/HorizontalOrganizationChart"/>
    <dgm:cxn modelId="{A39244B7-C2CD-4875-A712-0288FF270BE9}" type="presOf" srcId="{C0B314DE-8C9A-4622-9124-4EAC4C631C63}" destId="{C106FE37-78FC-4B91-AB63-2959EC40C132}" srcOrd="0" destOrd="0" presId="urn:microsoft.com/office/officeart/2009/3/layout/HorizontalOrganizationChart"/>
    <dgm:cxn modelId="{6B6B404A-7B0E-4575-90A2-D9C808675565}" type="presParOf" srcId="{D897512D-1C5A-425D-A4CA-5FD67064C449}" destId="{2A15FFC2-0A3D-49A0-A616-0230EDFF10F9}" srcOrd="0" destOrd="0" presId="urn:microsoft.com/office/officeart/2009/3/layout/HorizontalOrganizationChart"/>
    <dgm:cxn modelId="{A1FBA94E-BDF0-4C8B-B5E1-966F16203D1D}" type="presParOf" srcId="{2A15FFC2-0A3D-49A0-A616-0230EDFF10F9}" destId="{19D8EA44-4891-4876-A3FD-75C069271127}" srcOrd="0" destOrd="0" presId="urn:microsoft.com/office/officeart/2009/3/layout/HorizontalOrganizationChart"/>
    <dgm:cxn modelId="{0CF39EB2-D859-444A-8938-1EF4022F3F0D}" type="presParOf" srcId="{19D8EA44-4891-4876-A3FD-75C069271127}" destId="{4EDE4789-F2C4-48F7-AD1A-1BC4182425B9}" srcOrd="0" destOrd="0" presId="urn:microsoft.com/office/officeart/2009/3/layout/HorizontalOrganizationChart"/>
    <dgm:cxn modelId="{B9E0D92D-B808-4EA8-8F98-1CEFDB2A1CB6}" type="presParOf" srcId="{19D8EA44-4891-4876-A3FD-75C069271127}" destId="{5C8871E6-F55F-4AAC-9444-953BDC8BFF40}" srcOrd="1" destOrd="0" presId="urn:microsoft.com/office/officeart/2009/3/layout/HorizontalOrganizationChart"/>
    <dgm:cxn modelId="{A94566CA-27DF-4779-A718-3FCC0C6370D8}" type="presParOf" srcId="{2A15FFC2-0A3D-49A0-A616-0230EDFF10F9}" destId="{21E6A1A2-09CA-4457-8704-98B51B2825B1}" srcOrd="1" destOrd="0" presId="urn:microsoft.com/office/officeart/2009/3/layout/HorizontalOrganizationChart"/>
    <dgm:cxn modelId="{09A6F82E-E746-4B76-B22D-63541FF3A9D8}" type="presParOf" srcId="{2A15FFC2-0A3D-49A0-A616-0230EDFF10F9}" destId="{08E6EC52-31E3-4246-B7D1-AE148E6A9594}" srcOrd="2" destOrd="0" presId="urn:microsoft.com/office/officeart/2009/3/layout/HorizontalOrganizationChart"/>
    <dgm:cxn modelId="{1FCBF234-FF1C-43AD-B4B2-9ED38AB114F6}" type="presParOf" srcId="{D897512D-1C5A-425D-A4CA-5FD67064C449}" destId="{641A1FB8-31EA-4400-89B2-B84BF9876F04}" srcOrd="1" destOrd="0" presId="urn:microsoft.com/office/officeart/2009/3/layout/HorizontalOrganizationChart"/>
    <dgm:cxn modelId="{14370ACC-204D-4F95-BF27-6E3612120722}" type="presParOf" srcId="{641A1FB8-31EA-4400-89B2-B84BF9876F04}" destId="{2215DDD9-40C1-42ED-8100-DA0EF97500ED}" srcOrd="0" destOrd="0" presId="urn:microsoft.com/office/officeart/2009/3/layout/HorizontalOrganizationChart"/>
    <dgm:cxn modelId="{92E3D898-60F1-42E0-9AE0-E7F8426E87DE}" type="presParOf" srcId="{2215DDD9-40C1-42ED-8100-DA0EF97500ED}" destId="{C106FE37-78FC-4B91-AB63-2959EC40C132}" srcOrd="0" destOrd="0" presId="urn:microsoft.com/office/officeart/2009/3/layout/HorizontalOrganizationChart"/>
    <dgm:cxn modelId="{96A2D527-5518-4041-B176-F34E0059B82B}" type="presParOf" srcId="{2215DDD9-40C1-42ED-8100-DA0EF97500ED}" destId="{860FFD42-6009-4881-8CA6-B334DA9A8178}" srcOrd="1" destOrd="0" presId="urn:microsoft.com/office/officeart/2009/3/layout/HorizontalOrganizationChart"/>
    <dgm:cxn modelId="{ADE6F659-E555-4178-84EB-F901677779B0}" type="presParOf" srcId="{641A1FB8-31EA-4400-89B2-B84BF9876F04}" destId="{5CBC7A73-AC05-40F3-8431-9DC6AC782F09}" srcOrd="1" destOrd="0" presId="urn:microsoft.com/office/officeart/2009/3/layout/HorizontalOrganizationChart"/>
    <dgm:cxn modelId="{F1EECF2A-EA57-48FC-BA79-90D9AF62CB04}" type="presParOf" srcId="{641A1FB8-31EA-4400-89B2-B84BF9876F04}" destId="{BCE2ECC5-6A04-4163-8498-00F0736A263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718AF86-2E83-4750-9E5F-A0B0CA96829B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ED36DBC-8D88-4B75-BECA-EC9BFD87DE2B}" type="parTrans" cxnId="{B5F27D27-C019-42CD-B9E6-030C160304E3}">
      <dgm:prSet/>
      <dgm:spPr/>
      <dgm:t>
        <a:bodyPr/>
        <a:lstStyle/>
        <a:p>
          <a:endParaRPr lang="en-US"/>
        </a:p>
      </dgm:t>
    </dgm:pt>
    <dgm:pt modelId="{75D565E3-8336-48C4-90E3-0C9DA6803E1C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rzełożeni</a:t>
          </a:r>
          <a:endParaRPr lang="en-US"/>
        </a:p>
      </dgm:t>
    </dgm:pt>
    <dgm:pt modelId="{7336C954-45A6-45C0-A688-FBC0481332A0}" type="sibTrans" cxnId="{B5F27D27-C019-42CD-B9E6-030C160304E3}">
      <dgm:prSet/>
      <dgm:spPr/>
      <dgm:t>
        <a:bodyPr/>
        <a:lstStyle/>
        <a:p>
          <a:endParaRPr lang="en-US"/>
        </a:p>
      </dgm:t>
    </dgm:pt>
    <dgm:pt modelId="{D6E3759B-9562-418F-A884-F46CCF2E4539}" type="parTrans" cxnId="{F155FA7A-868A-483E-A246-C22090AD7249}">
      <dgm:prSet/>
      <dgm:spPr/>
      <dgm:t>
        <a:bodyPr/>
        <a:lstStyle/>
        <a:p>
          <a:endParaRPr lang="en-US"/>
        </a:p>
      </dgm:t>
    </dgm:pt>
    <dgm:pt modelId="{1B8D85C5-F2D0-42D0-A7C7-595DDFBB0B94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Kierownicy</a:t>
          </a:r>
          <a:endParaRPr lang="en-US"/>
        </a:p>
      </dgm:t>
    </dgm:pt>
    <dgm:pt modelId="{B41704BC-3399-4B98-8CBB-1C82DC8134AC}" type="sibTrans" cxnId="{F155FA7A-868A-483E-A246-C22090AD7249}">
      <dgm:prSet/>
      <dgm:spPr/>
      <dgm:t>
        <a:bodyPr/>
        <a:lstStyle/>
        <a:p>
          <a:endParaRPr lang="en-US"/>
        </a:p>
      </dgm:t>
    </dgm:pt>
    <dgm:pt modelId="{03350E07-5B48-4E7C-B3A5-440AC1FB5680}" type="parTrans" cxnId="{00449402-23DA-429D-B541-DDD4ACFE525F}">
      <dgm:prSet/>
      <dgm:spPr/>
      <dgm:t>
        <a:bodyPr/>
        <a:lstStyle/>
        <a:p>
          <a:endParaRPr lang="en-US"/>
        </a:p>
      </dgm:t>
    </dgm:pt>
    <dgm:pt modelId="{877A83AA-B99B-4BD8-8DEC-185197AADBB9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spółpracownicy</a:t>
          </a:r>
          <a:endParaRPr lang="en-US"/>
        </a:p>
      </dgm:t>
    </dgm:pt>
    <dgm:pt modelId="{50A5F10B-C1FB-4521-826D-3C55CB839AE2}" type="sibTrans" cxnId="{00449402-23DA-429D-B541-DDD4ACFE525F}">
      <dgm:prSet/>
      <dgm:spPr/>
      <dgm:t>
        <a:bodyPr/>
        <a:lstStyle/>
        <a:p>
          <a:endParaRPr lang="en-US"/>
        </a:p>
      </dgm:t>
    </dgm:pt>
    <dgm:pt modelId="{5F02574E-EF70-4789-8A4E-C11738F6861A}" type="parTrans" cxnId="{2FEEE24D-AE3B-470C-BD58-0DE8B933F022}">
      <dgm:prSet/>
      <dgm:spPr/>
      <dgm:t>
        <a:bodyPr/>
        <a:lstStyle/>
        <a:p>
          <a:endParaRPr lang="en-US"/>
        </a:p>
      </dgm:t>
    </dgm:pt>
    <dgm:pt modelId="{2E3CAA22-643F-4AB0-A1DA-20BE5D846CFB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Dostawcy</a:t>
          </a:r>
          <a:endParaRPr lang="en-US"/>
        </a:p>
      </dgm:t>
    </dgm:pt>
    <dgm:pt modelId="{7225BED6-EFE7-401D-8A32-EBCC85760333}" type="sibTrans" cxnId="{2FEEE24D-AE3B-470C-BD58-0DE8B933F022}">
      <dgm:prSet/>
      <dgm:spPr/>
      <dgm:t>
        <a:bodyPr/>
        <a:lstStyle/>
        <a:p>
          <a:endParaRPr lang="en-US"/>
        </a:p>
      </dgm:t>
    </dgm:pt>
    <dgm:pt modelId="{48AC272F-9CFB-4033-B69D-73E2EE0B7EC5}" type="parTrans" cxnId="{EFBCDE53-B7A9-4497-8E04-9AF9C23670F3}">
      <dgm:prSet/>
      <dgm:spPr/>
      <dgm:t>
        <a:bodyPr/>
        <a:lstStyle/>
        <a:p>
          <a:endParaRPr lang="en-US"/>
        </a:p>
      </dgm:t>
    </dgm:pt>
    <dgm:pt modelId="{C7781311-E474-47F5-902B-0A2B3D8FF44A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Klienci</a:t>
          </a:r>
          <a:endParaRPr lang="en-US"/>
        </a:p>
      </dgm:t>
    </dgm:pt>
    <dgm:pt modelId="{D871D23F-569C-4FD5-AFBA-DD194F9C33FF}" type="sibTrans" cxnId="{EFBCDE53-B7A9-4497-8E04-9AF9C23670F3}">
      <dgm:prSet/>
      <dgm:spPr/>
      <dgm:t>
        <a:bodyPr/>
        <a:lstStyle/>
        <a:p>
          <a:endParaRPr lang="en-US"/>
        </a:p>
      </dgm:t>
    </dgm:pt>
    <dgm:pt modelId="{56D5179D-1EFA-4854-87D9-1B62387F6DC6}" type="parTrans" cxnId="{E5B47581-D40F-4D6C-805B-CE98AA0ECBA0}">
      <dgm:prSet/>
      <dgm:spPr/>
      <dgm:t>
        <a:bodyPr/>
        <a:lstStyle/>
        <a:p>
          <a:endParaRPr lang="en-US"/>
        </a:p>
      </dgm:t>
    </dgm:pt>
    <dgm:pt modelId="{4FB763E3-8A34-4199-805A-904204A5B9E8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34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ykonawcy</a:t>
          </a:r>
          <a:endParaRPr lang="en-US" sz="3400" dirty="0"/>
        </a:p>
      </dgm:t>
    </dgm:pt>
    <dgm:pt modelId="{5D5D3307-FD81-45B6-A978-0B64D363C3ED}" type="sibTrans" cxnId="{E5B47581-D40F-4D6C-805B-CE98AA0ECBA0}">
      <dgm:prSet/>
      <dgm:spPr/>
      <dgm:t>
        <a:bodyPr/>
        <a:lstStyle/>
        <a:p>
          <a:endParaRPr lang="en-US"/>
        </a:p>
      </dgm:t>
    </dgm:pt>
    <dgm:pt modelId="{7B6D35E6-14FC-460A-BFCD-18027F77E34D}" type="pres">
      <dgm:prSet presAssocID="{E718AF86-2E83-4750-9E5F-A0B0CA96829B}" presName="diagram" presStyleCnt="0">
        <dgm:presLayoutVars>
          <dgm:dir/>
          <dgm:resizeHandles val="exact"/>
        </dgm:presLayoutVars>
      </dgm:prSet>
      <dgm:spPr/>
    </dgm:pt>
    <dgm:pt modelId="{BF61FA31-D264-43EA-875B-A2B7B8E7012B}" type="pres">
      <dgm:prSet presAssocID="{75D565E3-8336-48C4-90E3-0C9DA6803E1C}" presName="node" presStyleLbl="node1" presStyleIdx="0" presStyleCnt="6">
        <dgm:presLayoutVars>
          <dgm:bulletEnabled val="1"/>
        </dgm:presLayoutVars>
      </dgm:prSet>
      <dgm:spPr/>
    </dgm:pt>
    <dgm:pt modelId="{3A618FCC-9271-4F94-9C7F-8E0070B1CDA1}" type="pres">
      <dgm:prSet presAssocID="{7336C954-45A6-45C0-A688-FBC0481332A0}" presName="sibTrans" presStyleCnt="0"/>
      <dgm:spPr/>
    </dgm:pt>
    <dgm:pt modelId="{4573CE03-A660-44F7-B0C8-0BF6532B8A05}" type="pres">
      <dgm:prSet presAssocID="{1B8D85C5-F2D0-42D0-A7C7-595DDFBB0B94}" presName="node" presStyleLbl="node1" presStyleIdx="1" presStyleCnt="6">
        <dgm:presLayoutVars>
          <dgm:bulletEnabled val="1"/>
        </dgm:presLayoutVars>
      </dgm:prSet>
      <dgm:spPr/>
    </dgm:pt>
    <dgm:pt modelId="{C2F10033-87C7-49C0-930D-446DCB2C20C3}" type="pres">
      <dgm:prSet presAssocID="{B41704BC-3399-4B98-8CBB-1C82DC8134AC}" presName="sibTrans" presStyleCnt="0"/>
      <dgm:spPr/>
    </dgm:pt>
    <dgm:pt modelId="{7D292785-63DD-40E5-BF38-3BDE0B2D1FB7}" type="pres">
      <dgm:prSet presAssocID="{877A83AA-B99B-4BD8-8DEC-185197AADBB9}" presName="node" presStyleLbl="node1" presStyleIdx="2" presStyleCnt="6">
        <dgm:presLayoutVars>
          <dgm:bulletEnabled val="1"/>
        </dgm:presLayoutVars>
      </dgm:prSet>
      <dgm:spPr/>
    </dgm:pt>
    <dgm:pt modelId="{9833DF5B-68D5-41F6-A523-9A5678394E58}" type="pres">
      <dgm:prSet presAssocID="{50A5F10B-C1FB-4521-826D-3C55CB839AE2}" presName="sibTrans" presStyleCnt="0"/>
      <dgm:spPr/>
    </dgm:pt>
    <dgm:pt modelId="{8E5F5894-71D7-4AD0-AB3F-825397E67428}" type="pres">
      <dgm:prSet presAssocID="{2E3CAA22-643F-4AB0-A1DA-20BE5D846CFB}" presName="node" presStyleLbl="node1" presStyleIdx="3" presStyleCnt="6">
        <dgm:presLayoutVars>
          <dgm:bulletEnabled val="1"/>
        </dgm:presLayoutVars>
      </dgm:prSet>
      <dgm:spPr/>
    </dgm:pt>
    <dgm:pt modelId="{8ABC1043-C70B-4802-972F-E92D28931A33}" type="pres">
      <dgm:prSet presAssocID="{7225BED6-EFE7-401D-8A32-EBCC85760333}" presName="sibTrans" presStyleCnt="0"/>
      <dgm:spPr/>
    </dgm:pt>
    <dgm:pt modelId="{41438514-9CE3-4267-8433-2A509C733917}" type="pres">
      <dgm:prSet presAssocID="{C7781311-E474-47F5-902B-0A2B3D8FF44A}" presName="node" presStyleLbl="node1" presStyleIdx="4" presStyleCnt="6">
        <dgm:presLayoutVars>
          <dgm:bulletEnabled val="1"/>
        </dgm:presLayoutVars>
      </dgm:prSet>
      <dgm:spPr/>
    </dgm:pt>
    <dgm:pt modelId="{64659242-38B6-43C3-988D-CA767345F9FA}" type="pres">
      <dgm:prSet presAssocID="{D871D23F-569C-4FD5-AFBA-DD194F9C33FF}" presName="sibTrans" presStyleCnt="0"/>
      <dgm:spPr/>
    </dgm:pt>
    <dgm:pt modelId="{CD7FF0B3-454C-4F5A-9542-9E88E96578B7}" type="pres">
      <dgm:prSet presAssocID="{4FB763E3-8A34-4199-805A-904204A5B9E8}" presName="node" presStyleLbl="node1" presStyleIdx="5" presStyleCnt="6">
        <dgm:presLayoutVars>
          <dgm:bulletEnabled val="1"/>
        </dgm:presLayoutVars>
      </dgm:prSet>
      <dgm:spPr/>
    </dgm:pt>
  </dgm:ptLst>
  <dgm:cxnLst>
    <dgm:cxn modelId="{00449402-23DA-429D-B541-DDD4ACFE525F}" srcId="{E718AF86-2E83-4750-9E5F-A0B0CA96829B}" destId="{877A83AA-B99B-4BD8-8DEC-185197AADBB9}" srcOrd="2" destOrd="0" parTransId="{03350E07-5B48-4E7C-B3A5-440AC1FB5680}" sibTransId="{50A5F10B-C1FB-4521-826D-3C55CB839AE2}"/>
    <dgm:cxn modelId="{D6C8E10C-4463-472F-AB84-9E138448920D}" type="presOf" srcId="{1B8D85C5-F2D0-42D0-A7C7-595DDFBB0B94}" destId="{4573CE03-A660-44F7-B0C8-0BF6532B8A05}" srcOrd="0" destOrd="0" presId="urn:microsoft.com/office/officeart/2005/8/layout/default"/>
    <dgm:cxn modelId="{B5F27D27-C019-42CD-B9E6-030C160304E3}" srcId="{E718AF86-2E83-4750-9E5F-A0B0CA96829B}" destId="{75D565E3-8336-48C4-90E3-0C9DA6803E1C}" srcOrd="0" destOrd="0" parTransId="{FED36DBC-8D88-4B75-BECA-EC9BFD87DE2B}" sibTransId="{7336C954-45A6-45C0-A688-FBC0481332A0}"/>
    <dgm:cxn modelId="{E809623A-FAEA-42B0-AE4D-D880E1C3F2ED}" type="presOf" srcId="{4FB763E3-8A34-4199-805A-904204A5B9E8}" destId="{CD7FF0B3-454C-4F5A-9542-9E88E96578B7}" srcOrd="0" destOrd="0" presId="urn:microsoft.com/office/officeart/2005/8/layout/default"/>
    <dgm:cxn modelId="{2FEEE24D-AE3B-470C-BD58-0DE8B933F022}" srcId="{E718AF86-2E83-4750-9E5F-A0B0CA96829B}" destId="{2E3CAA22-643F-4AB0-A1DA-20BE5D846CFB}" srcOrd="3" destOrd="0" parTransId="{5F02574E-EF70-4789-8A4E-C11738F6861A}" sibTransId="{7225BED6-EFE7-401D-8A32-EBCC85760333}"/>
    <dgm:cxn modelId="{EFBCDE53-B7A9-4497-8E04-9AF9C23670F3}" srcId="{E718AF86-2E83-4750-9E5F-A0B0CA96829B}" destId="{C7781311-E474-47F5-902B-0A2B3D8FF44A}" srcOrd="4" destOrd="0" parTransId="{48AC272F-9CFB-4033-B69D-73E2EE0B7EC5}" sibTransId="{D871D23F-569C-4FD5-AFBA-DD194F9C33FF}"/>
    <dgm:cxn modelId="{21B96E77-37BB-4F4B-BAE4-5F0340C9BAEC}" type="presOf" srcId="{75D565E3-8336-48C4-90E3-0C9DA6803E1C}" destId="{BF61FA31-D264-43EA-875B-A2B7B8E7012B}" srcOrd="0" destOrd="0" presId="urn:microsoft.com/office/officeart/2005/8/layout/default"/>
    <dgm:cxn modelId="{F155FA7A-868A-483E-A246-C22090AD7249}" srcId="{E718AF86-2E83-4750-9E5F-A0B0CA96829B}" destId="{1B8D85C5-F2D0-42D0-A7C7-595DDFBB0B94}" srcOrd="1" destOrd="0" parTransId="{D6E3759B-9562-418F-A884-F46CCF2E4539}" sibTransId="{B41704BC-3399-4B98-8CBB-1C82DC8134AC}"/>
    <dgm:cxn modelId="{E5B47581-D40F-4D6C-805B-CE98AA0ECBA0}" srcId="{E718AF86-2E83-4750-9E5F-A0B0CA96829B}" destId="{4FB763E3-8A34-4199-805A-904204A5B9E8}" srcOrd="5" destOrd="0" parTransId="{56D5179D-1EFA-4854-87D9-1B62387F6DC6}" sibTransId="{5D5D3307-FD81-45B6-A978-0B64D363C3ED}"/>
    <dgm:cxn modelId="{1F6A3D88-6602-492A-BBF4-4E4E410AB495}" type="presOf" srcId="{C7781311-E474-47F5-902B-0A2B3D8FF44A}" destId="{41438514-9CE3-4267-8433-2A509C733917}" srcOrd="0" destOrd="0" presId="urn:microsoft.com/office/officeart/2005/8/layout/default"/>
    <dgm:cxn modelId="{F21169AD-EC58-400D-B0B9-528ABAE56620}" type="presOf" srcId="{2E3CAA22-643F-4AB0-A1DA-20BE5D846CFB}" destId="{8E5F5894-71D7-4AD0-AB3F-825397E67428}" srcOrd="0" destOrd="0" presId="urn:microsoft.com/office/officeart/2005/8/layout/default"/>
    <dgm:cxn modelId="{5EA9B2D2-1DA5-4595-91D2-289052C60257}" type="presOf" srcId="{877A83AA-B99B-4BD8-8DEC-185197AADBB9}" destId="{7D292785-63DD-40E5-BF38-3BDE0B2D1FB7}" srcOrd="0" destOrd="0" presId="urn:microsoft.com/office/officeart/2005/8/layout/default"/>
    <dgm:cxn modelId="{F01C8FFE-5AF6-4E64-B14C-B2CEF92843A4}" type="presOf" srcId="{E718AF86-2E83-4750-9E5F-A0B0CA96829B}" destId="{7B6D35E6-14FC-460A-BFCD-18027F77E34D}" srcOrd="0" destOrd="0" presId="urn:microsoft.com/office/officeart/2005/8/layout/default"/>
    <dgm:cxn modelId="{0EFD79C7-73D4-40C7-A5E1-C6163BFD3E56}" type="presParOf" srcId="{7B6D35E6-14FC-460A-BFCD-18027F77E34D}" destId="{BF61FA31-D264-43EA-875B-A2B7B8E7012B}" srcOrd="0" destOrd="0" presId="urn:microsoft.com/office/officeart/2005/8/layout/default"/>
    <dgm:cxn modelId="{6FE39B2F-A1B2-4A61-97CB-12407F455F03}" type="presParOf" srcId="{7B6D35E6-14FC-460A-BFCD-18027F77E34D}" destId="{3A618FCC-9271-4F94-9C7F-8E0070B1CDA1}" srcOrd="1" destOrd="0" presId="urn:microsoft.com/office/officeart/2005/8/layout/default"/>
    <dgm:cxn modelId="{DE0318F1-C824-43A9-9BA4-AC541C725219}" type="presParOf" srcId="{7B6D35E6-14FC-460A-BFCD-18027F77E34D}" destId="{4573CE03-A660-44F7-B0C8-0BF6532B8A05}" srcOrd="2" destOrd="0" presId="urn:microsoft.com/office/officeart/2005/8/layout/default"/>
    <dgm:cxn modelId="{9B4E4070-00BC-4736-AC3D-647A44F6E83F}" type="presParOf" srcId="{7B6D35E6-14FC-460A-BFCD-18027F77E34D}" destId="{C2F10033-87C7-49C0-930D-446DCB2C20C3}" srcOrd="3" destOrd="0" presId="urn:microsoft.com/office/officeart/2005/8/layout/default"/>
    <dgm:cxn modelId="{BF7A9E3C-DCC2-4963-A47B-E6CB6DD6C44C}" type="presParOf" srcId="{7B6D35E6-14FC-460A-BFCD-18027F77E34D}" destId="{7D292785-63DD-40E5-BF38-3BDE0B2D1FB7}" srcOrd="4" destOrd="0" presId="urn:microsoft.com/office/officeart/2005/8/layout/default"/>
    <dgm:cxn modelId="{4DC48E64-DB59-43DC-9F8E-EBDBC924D222}" type="presParOf" srcId="{7B6D35E6-14FC-460A-BFCD-18027F77E34D}" destId="{9833DF5B-68D5-41F6-A523-9A5678394E58}" srcOrd="5" destOrd="0" presId="urn:microsoft.com/office/officeart/2005/8/layout/default"/>
    <dgm:cxn modelId="{D980528B-A940-45B1-903F-97E260F9DEF7}" type="presParOf" srcId="{7B6D35E6-14FC-460A-BFCD-18027F77E34D}" destId="{8E5F5894-71D7-4AD0-AB3F-825397E67428}" srcOrd="6" destOrd="0" presId="urn:microsoft.com/office/officeart/2005/8/layout/default"/>
    <dgm:cxn modelId="{12EB7459-8CC0-4BFA-AFC2-77510BEF7E8E}" type="presParOf" srcId="{7B6D35E6-14FC-460A-BFCD-18027F77E34D}" destId="{8ABC1043-C70B-4802-972F-E92D28931A33}" srcOrd="7" destOrd="0" presId="urn:microsoft.com/office/officeart/2005/8/layout/default"/>
    <dgm:cxn modelId="{C40D5215-60A2-468E-B4B9-434702DCDDEB}" type="presParOf" srcId="{7B6D35E6-14FC-460A-BFCD-18027F77E34D}" destId="{41438514-9CE3-4267-8433-2A509C733917}" srcOrd="8" destOrd="0" presId="urn:microsoft.com/office/officeart/2005/8/layout/default"/>
    <dgm:cxn modelId="{8C583090-D12D-460A-B049-4CBD6A0981DB}" type="presParOf" srcId="{7B6D35E6-14FC-460A-BFCD-18027F77E34D}" destId="{64659242-38B6-43C3-988D-CA767345F9FA}" srcOrd="9" destOrd="0" presId="urn:microsoft.com/office/officeart/2005/8/layout/default"/>
    <dgm:cxn modelId="{731BE4E0-22E9-4472-B163-C7CF2940EEC6}" type="presParOf" srcId="{7B6D35E6-14FC-460A-BFCD-18027F77E34D}" destId="{CD7FF0B3-454C-4F5A-9542-9E88E96578B7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C05A7D9-4B26-493B-AD17-CF6F474D260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3147A8-9B94-4655-872A-C321ED63F359}" type="parTrans" cxnId="{E7917696-46D4-4610-8BC1-F1DA75379433}">
      <dgm:prSet/>
      <dgm:spPr/>
      <dgm:t>
        <a:bodyPr/>
        <a:lstStyle/>
        <a:p>
          <a:endParaRPr lang="en-US"/>
        </a:p>
      </dgm:t>
    </dgm:pt>
    <dgm:pt modelId="{D1140553-0F2C-4E08-A6D7-E9695769881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stępowanie wizualne </a:t>
          </a:r>
        </a:p>
      </dgm:t>
    </dgm:pt>
    <dgm:pt modelId="{6EE0849C-BC16-44AE-B4F4-4E3885699EAF}" type="parTrans" cxnId="{54D0644B-772E-4DBC-AEBC-B35557030908}">
      <dgm:prSet/>
      <dgm:spPr/>
      <dgm:t>
        <a:bodyPr/>
        <a:lstStyle/>
        <a:p>
          <a:endParaRPr lang="en-US"/>
        </a:p>
      </dgm:t>
    </dgm:pt>
    <dgm:pt modelId="{7AD47BAE-9CB4-432C-9257-ACCCDE15C002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zbywanie się, wykonywanie gestów seksualnych</a:t>
          </a:r>
        </a:p>
      </dgm:t>
    </dgm:pt>
    <dgm:pt modelId="{B2C67109-4C19-4CF1-A362-DDEA36B3260E}" type="sibTrans" cxnId="{54D0644B-772E-4DBC-AEBC-B35557030908}">
      <dgm:prSet/>
      <dgm:spPr/>
      <dgm:t>
        <a:bodyPr/>
        <a:lstStyle/>
        <a:p>
          <a:endParaRPr lang="en-US"/>
        </a:p>
      </dgm:t>
    </dgm:pt>
    <dgm:pt modelId="{B0B1209E-36A1-4E04-98E3-7E1EE65124D5}" type="parTrans" cxnId="{B9A97DA1-2B4F-430B-B12D-F49565127DF7}">
      <dgm:prSet/>
      <dgm:spPr/>
      <dgm:t>
        <a:bodyPr/>
        <a:lstStyle/>
        <a:p>
          <a:endParaRPr lang="en-US"/>
        </a:p>
      </dgm:t>
    </dgm:pt>
    <dgm:pt modelId="{424F1DCF-E6C8-484E-BBFE-3FD4CF2C4D50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yświetlanie sugestywnych przedmiotów, zdjęć, kreskówek lub plakatów w formie drukowanej lub cyfrowej</a:t>
          </a:r>
        </a:p>
      </dgm:t>
    </dgm:pt>
    <dgm:pt modelId="{5519A9E2-41C9-4E39-8BED-4C67155F3D79}" type="sibTrans" cxnId="{B9A97DA1-2B4F-430B-B12D-F49565127DF7}">
      <dgm:prSet/>
      <dgm:spPr/>
      <dgm:t>
        <a:bodyPr/>
        <a:lstStyle/>
        <a:p>
          <a:endParaRPr lang="en-US"/>
        </a:p>
      </dgm:t>
    </dgm:pt>
    <dgm:pt modelId="{7317062B-F1CA-45AF-ACEC-CF8A4966C4E7}" type="sibTrans" cxnId="{E7917696-46D4-4610-8BC1-F1DA75379433}">
      <dgm:prSet/>
      <dgm:spPr/>
      <dgm:t>
        <a:bodyPr/>
        <a:lstStyle/>
        <a:p>
          <a:endParaRPr lang="en-US"/>
        </a:p>
      </dgm:t>
    </dgm:pt>
    <dgm:pt modelId="{01509BDB-23A7-4E1A-8EE1-9B1BA783FFD5}" type="parTrans" cxnId="{5C38353B-1C33-4DF9-B241-145B1166D1A4}">
      <dgm:prSet/>
      <dgm:spPr/>
      <dgm:t>
        <a:bodyPr/>
        <a:lstStyle/>
        <a:p>
          <a:endParaRPr lang="en-US"/>
        </a:p>
      </dgm:t>
    </dgm:pt>
    <dgm:pt modelId="{03ADAECB-047A-46F4-9200-A29E2B53805A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Zachowania fizyczne</a:t>
          </a:r>
        </a:p>
      </dgm:t>
    </dgm:pt>
    <dgm:pt modelId="{7D4D8014-F1DB-411D-A99F-000FBF67510A}" type="parTrans" cxnId="{44FEC6F3-CD5F-4D55-BD9A-9703921E8A67}">
      <dgm:prSet/>
      <dgm:spPr/>
      <dgm:t>
        <a:bodyPr/>
        <a:lstStyle/>
        <a:p>
          <a:endParaRPr lang="en-US"/>
        </a:p>
      </dgm:t>
    </dgm:pt>
    <dgm:pt modelId="{700502CC-08DF-4A38-B06C-7BAE4529CD04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Dotykanie, przytulanie lub masaż</a:t>
          </a:r>
        </a:p>
      </dgm:t>
    </dgm:pt>
    <dgm:pt modelId="{3AA66E2B-C7F4-4738-B0C6-89117339686D}" type="sibTrans" cxnId="{44FEC6F3-CD5F-4D55-BD9A-9703921E8A67}">
      <dgm:prSet/>
      <dgm:spPr/>
      <dgm:t>
        <a:bodyPr/>
        <a:lstStyle/>
        <a:p>
          <a:endParaRPr lang="en-US"/>
        </a:p>
      </dgm:t>
    </dgm:pt>
    <dgm:pt modelId="{9B816D66-BCA5-4EB0-97D2-6A6E68BCB7D8}" type="parTrans" cxnId="{AA8931AA-CDF9-49C5-BA84-24E87A85462A}">
      <dgm:prSet/>
      <dgm:spPr/>
      <dgm:t>
        <a:bodyPr/>
        <a:lstStyle/>
        <a:p>
          <a:endParaRPr lang="en-US"/>
        </a:p>
      </dgm:t>
    </dgm:pt>
    <dgm:pt modelId="{AAABA161-B816-48FE-9FF6-403447916EF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Napaść</a:t>
          </a:r>
        </a:p>
      </dgm:t>
    </dgm:pt>
    <dgm:pt modelId="{CAF8154D-B656-4A60-911E-7D35FB8AFDAF}" type="sibTrans" cxnId="{AA8931AA-CDF9-49C5-BA84-24E87A85462A}">
      <dgm:prSet/>
      <dgm:spPr/>
      <dgm:t>
        <a:bodyPr/>
        <a:lstStyle/>
        <a:p>
          <a:endParaRPr lang="en-US"/>
        </a:p>
      </dgm:t>
    </dgm:pt>
    <dgm:pt modelId="{7136BF63-0206-4684-85AB-24B66306CC42}" type="parTrans" cxnId="{808D37D2-CECB-43E0-AC4C-8A4F1875F6B3}">
      <dgm:prSet/>
      <dgm:spPr/>
      <dgm:t>
        <a:bodyPr/>
        <a:lstStyle/>
        <a:p>
          <a:endParaRPr lang="en-US"/>
        </a:p>
      </dgm:t>
    </dgm:pt>
    <dgm:pt modelId="{6145CC65-493A-459B-864E-BE0291E3B59B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Hamowanie lub blokowanie ruchu </a:t>
          </a:r>
        </a:p>
      </dgm:t>
    </dgm:pt>
    <dgm:pt modelId="{72680BB3-04FA-41D0-987B-EFEBFE9E86BA}" type="sibTrans" cxnId="{808D37D2-CECB-43E0-AC4C-8A4F1875F6B3}">
      <dgm:prSet/>
      <dgm:spPr/>
      <dgm:t>
        <a:bodyPr/>
        <a:lstStyle/>
        <a:p>
          <a:endParaRPr lang="en-US"/>
        </a:p>
      </dgm:t>
    </dgm:pt>
    <dgm:pt modelId="{CDCDB1D1-BFA5-4418-9B98-B885AF47B3A5}" type="sibTrans" cxnId="{5C38353B-1C33-4DF9-B241-145B1166D1A4}">
      <dgm:prSet/>
      <dgm:spPr/>
      <dgm:t>
        <a:bodyPr/>
        <a:lstStyle/>
        <a:p>
          <a:endParaRPr lang="en-US"/>
        </a:p>
      </dgm:t>
    </dgm:pt>
    <dgm:pt modelId="{998E800D-ECE1-4951-9960-7BDD393DF063}" type="parTrans" cxnId="{AF07BDBB-C5B8-4E90-9F00-034878C44E4F}">
      <dgm:prSet/>
      <dgm:spPr/>
      <dgm:t>
        <a:bodyPr/>
        <a:lstStyle/>
        <a:p>
          <a:endParaRPr lang="en-US"/>
        </a:p>
      </dgm:t>
    </dgm:pt>
    <dgm:pt modelId="{E826FA2F-8DF9-4F84-A929-4F0DA138E063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stępowanie werbalne </a:t>
          </a:r>
        </a:p>
      </dgm:t>
    </dgm:pt>
    <dgm:pt modelId="{E1A01D08-2A2A-4288-9A6B-4683DB5B102E}" type="parTrans" cxnId="{5B92CF0D-7EEC-4C38-A4A0-72041FA6C28C}">
      <dgm:prSet/>
      <dgm:spPr/>
      <dgm:t>
        <a:bodyPr/>
        <a:lstStyle/>
        <a:p>
          <a:endParaRPr lang="en-US"/>
        </a:p>
      </dgm:t>
    </dgm:pt>
    <dgm:pt modelId="{9BBEF1E3-0CAD-46F1-A1A7-FDD1D2E9A001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ygłaszanie lub wykorzystywanie uwłaczających komentarzy, obelg lub żartów osobiście lub za pośrednictwem wiadomości tekstowych, wiadomości e-mail lub wiadomości</a:t>
          </a:r>
        </a:p>
      </dgm:t>
    </dgm:pt>
    <dgm:pt modelId="{2F4CA838-9D64-4D04-B928-E4E177D2EFFC}" type="sibTrans" cxnId="{5B92CF0D-7EEC-4C38-A4A0-72041FA6C28C}">
      <dgm:prSet/>
      <dgm:spPr/>
      <dgm:t>
        <a:bodyPr/>
        <a:lstStyle/>
        <a:p>
          <a:endParaRPr lang="en-US"/>
        </a:p>
      </dgm:t>
    </dgm:pt>
    <dgm:pt modelId="{8014555A-0CB7-4C34-ACAE-613E5E6AC076}" type="parTrans" cxnId="{76036AA1-43E2-4743-B935-609F3B627321}">
      <dgm:prSet/>
      <dgm:spPr/>
      <dgm:t>
        <a:bodyPr/>
        <a:lstStyle/>
        <a:p>
          <a:endParaRPr lang="en-US"/>
        </a:p>
      </dgm:t>
    </dgm:pt>
    <dgm:pt modelId="{D83BCC78-D56C-40B2-A4E9-119D217BB84C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erbalne propozycje seksualne</a:t>
          </a:r>
        </a:p>
      </dgm:t>
    </dgm:pt>
    <dgm:pt modelId="{42890CFE-C418-459F-93F0-D743808833AF}" type="sibTrans" cxnId="{76036AA1-43E2-4743-B935-609F3B627321}">
      <dgm:prSet/>
      <dgm:spPr/>
      <dgm:t>
        <a:bodyPr/>
        <a:lstStyle/>
        <a:p>
          <a:endParaRPr lang="en-US"/>
        </a:p>
      </dgm:t>
    </dgm:pt>
    <dgm:pt modelId="{D17DCF28-A149-41C4-8F81-35A18B015B57}" type="parTrans" cxnId="{F4D1F00C-26AB-4586-A99B-2BCD5BD651F6}">
      <dgm:prSet/>
      <dgm:spPr/>
      <dgm:t>
        <a:bodyPr/>
        <a:lstStyle/>
        <a:p>
          <a:endParaRPr lang="en-US"/>
        </a:p>
      </dgm:t>
    </dgm:pt>
    <dgm:pt modelId="{C15B46CF-86A6-42D1-A495-80BDE3CACF54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łowne nadużycia o charakterze seksualnym</a:t>
          </a:r>
        </a:p>
      </dgm:t>
    </dgm:pt>
    <dgm:pt modelId="{04EE481C-7495-40CE-950B-C4EB510C5DC1}" type="sibTrans" cxnId="{F4D1F00C-26AB-4586-A99B-2BCD5BD651F6}">
      <dgm:prSet/>
      <dgm:spPr/>
      <dgm:t>
        <a:bodyPr/>
        <a:lstStyle/>
        <a:p>
          <a:endParaRPr lang="en-US"/>
        </a:p>
      </dgm:t>
    </dgm:pt>
    <dgm:pt modelId="{1C4B42A5-C5B7-4CE0-B56D-8D3A89CD9A8B}" type="parTrans" cxnId="{40429326-DC92-4329-BF46-D795891709BA}">
      <dgm:prSet/>
      <dgm:spPr/>
      <dgm:t>
        <a:bodyPr/>
        <a:lstStyle/>
        <a:p>
          <a:endParaRPr lang="en-US"/>
        </a:p>
      </dgm:t>
    </dgm:pt>
    <dgm:pt modelId="{9318EE55-3B8D-40BB-B3DD-40119884117B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Grafika ustnych komentarzy na temat ciała danej osoby</a:t>
          </a:r>
        </a:p>
      </dgm:t>
    </dgm:pt>
    <dgm:pt modelId="{56FEB4AC-12D6-48A4-92FD-11F459ACEE29}" type="sibTrans" cxnId="{40429326-DC92-4329-BF46-D795891709BA}">
      <dgm:prSet/>
      <dgm:spPr/>
      <dgm:t>
        <a:bodyPr/>
        <a:lstStyle/>
        <a:p>
          <a:endParaRPr lang="en-US"/>
        </a:p>
      </dgm:t>
    </dgm:pt>
    <dgm:pt modelId="{544ED2F1-447B-4D28-B908-B8AA40785393}" type="parTrans" cxnId="{15E04768-F638-4B9C-9FCB-D4B8FFADF3B2}">
      <dgm:prSet/>
      <dgm:spPr/>
      <dgm:t>
        <a:bodyPr/>
        <a:lstStyle/>
        <a:p>
          <a:endParaRPr lang="en-US"/>
        </a:p>
      </dgm:t>
    </dgm:pt>
    <dgm:pt modelId="{70B2DF44-34FC-4788-9FB5-6B334345058D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pl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ksualnie poniżające słowa używane do opisania osoby, sugestywne lub obsceniczne listy, notatki lub zaproszenia</a:t>
          </a:r>
        </a:p>
      </dgm:t>
    </dgm:pt>
    <dgm:pt modelId="{FBB0510E-F978-4063-8359-F3B0AA0F5613}" type="sibTrans" cxnId="{15E04768-F638-4B9C-9FCB-D4B8FFADF3B2}">
      <dgm:prSet/>
      <dgm:spPr/>
      <dgm:t>
        <a:bodyPr/>
        <a:lstStyle/>
        <a:p>
          <a:endParaRPr lang="en-US"/>
        </a:p>
      </dgm:t>
    </dgm:pt>
    <dgm:pt modelId="{ADE3DF73-07D5-4C55-842D-35766D1190D0}" type="sibTrans" cxnId="{AF07BDBB-C5B8-4E90-9F00-034878C44E4F}">
      <dgm:prSet/>
      <dgm:spPr/>
      <dgm:t>
        <a:bodyPr/>
        <a:lstStyle/>
        <a:p>
          <a:endParaRPr lang="en-US"/>
        </a:p>
      </dgm:t>
    </dgm:pt>
    <dgm:pt modelId="{4C92CBA6-378A-4AC4-8B81-EBCFC25998B5}" type="pres">
      <dgm:prSet presAssocID="{0C05A7D9-4B26-493B-AD17-CF6F474D2605}" presName="diagram" presStyleCnt="0">
        <dgm:presLayoutVars>
          <dgm:dir/>
          <dgm:resizeHandles val="exact"/>
        </dgm:presLayoutVars>
      </dgm:prSet>
      <dgm:spPr/>
    </dgm:pt>
    <dgm:pt modelId="{EA286E4F-7206-4C05-AD55-DC212A1A5DC4}" type="pres">
      <dgm:prSet presAssocID="{D1140553-0F2C-4E08-A6D7-E96957698816}" presName="node" presStyleLbl="node1" presStyleIdx="0" presStyleCnt="3" custScaleY="91003">
        <dgm:presLayoutVars>
          <dgm:bulletEnabled val="1"/>
        </dgm:presLayoutVars>
      </dgm:prSet>
      <dgm:spPr/>
    </dgm:pt>
    <dgm:pt modelId="{F80C4730-0173-4C1A-9B71-4C9F48B5C63F}" type="pres">
      <dgm:prSet presAssocID="{7317062B-F1CA-45AF-ACEC-CF8A4966C4E7}" presName="sibTrans" presStyleCnt="0"/>
      <dgm:spPr/>
    </dgm:pt>
    <dgm:pt modelId="{988B99C9-8C3B-43DD-B195-DE7699CD3887}" type="pres">
      <dgm:prSet presAssocID="{03ADAECB-047A-46F4-9200-A29E2B53805A}" presName="node" presStyleLbl="node1" presStyleIdx="1" presStyleCnt="3" custScaleY="72244">
        <dgm:presLayoutVars>
          <dgm:bulletEnabled val="1"/>
        </dgm:presLayoutVars>
      </dgm:prSet>
      <dgm:spPr/>
    </dgm:pt>
    <dgm:pt modelId="{8757694E-B58D-42BB-9481-BBB0585FB9A2}" type="pres">
      <dgm:prSet presAssocID="{CDCDB1D1-BFA5-4418-9B98-B885AF47B3A5}" presName="sibTrans" presStyleCnt="0"/>
      <dgm:spPr/>
    </dgm:pt>
    <dgm:pt modelId="{66092D74-200C-439C-BC45-FB0319721481}" type="pres">
      <dgm:prSet presAssocID="{E826FA2F-8DF9-4F84-A929-4F0DA138E063}" presName="node" presStyleLbl="node1" presStyleIdx="2" presStyleCnt="3" custScaleX="181097" custScaleY="135444">
        <dgm:presLayoutVars>
          <dgm:bulletEnabled val="1"/>
        </dgm:presLayoutVars>
      </dgm:prSet>
      <dgm:spPr/>
    </dgm:pt>
  </dgm:ptLst>
  <dgm:cxnLst>
    <dgm:cxn modelId="{F4D1F00C-26AB-4586-A99B-2BCD5BD651F6}" srcId="{E826FA2F-8DF9-4F84-A929-4F0DA138E063}" destId="{C15B46CF-86A6-42D1-A495-80BDE3CACF54}" srcOrd="2" destOrd="0" parTransId="{D17DCF28-A149-41C4-8F81-35A18B015B57}" sibTransId="{04EE481C-7495-40CE-950B-C4EB510C5DC1}"/>
    <dgm:cxn modelId="{5B92CF0D-7EEC-4C38-A4A0-72041FA6C28C}" srcId="{E826FA2F-8DF9-4F84-A929-4F0DA138E063}" destId="{9BBEF1E3-0CAD-46F1-A1A7-FDD1D2E9A001}" srcOrd="0" destOrd="0" parTransId="{E1A01D08-2A2A-4288-9A6B-4683DB5B102E}" sibTransId="{2F4CA838-9D64-4D04-B928-E4E177D2EFFC}"/>
    <dgm:cxn modelId="{41B5880F-B600-4FB7-8B65-7E7A65E304B5}" type="presOf" srcId="{D1140553-0F2C-4E08-A6D7-E96957698816}" destId="{EA286E4F-7206-4C05-AD55-DC212A1A5DC4}" srcOrd="0" destOrd="0" presId="urn:microsoft.com/office/officeart/2005/8/layout/default"/>
    <dgm:cxn modelId="{40429326-DC92-4329-BF46-D795891709BA}" srcId="{E826FA2F-8DF9-4F84-A929-4F0DA138E063}" destId="{9318EE55-3B8D-40BB-B3DD-40119884117B}" srcOrd="3" destOrd="0" parTransId="{1C4B42A5-C5B7-4CE0-B56D-8D3A89CD9A8B}" sibTransId="{56FEB4AC-12D6-48A4-92FD-11F459ACEE29}"/>
    <dgm:cxn modelId="{C0B8E62A-5020-45DC-8D9F-416BA5E90C1C}" type="presOf" srcId="{AAABA161-B816-48FE-9FF6-403447916EF6}" destId="{988B99C9-8C3B-43DD-B195-DE7699CD3887}" srcOrd="0" destOrd="2" presId="urn:microsoft.com/office/officeart/2005/8/layout/default"/>
    <dgm:cxn modelId="{42EBBA39-DD93-4A66-AE01-9B74718616D8}" type="presOf" srcId="{D83BCC78-D56C-40B2-A4E9-119D217BB84C}" destId="{66092D74-200C-439C-BC45-FB0319721481}" srcOrd="0" destOrd="2" presId="urn:microsoft.com/office/officeart/2005/8/layout/default"/>
    <dgm:cxn modelId="{5C38353B-1C33-4DF9-B241-145B1166D1A4}" srcId="{0C05A7D9-4B26-493B-AD17-CF6F474D2605}" destId="{03ADAECB-047A-46F4-9200-A29E2B53805A}" srcOrd="1" destOrd="0" parTransId="{01509BDB-23A7-4E1A-8EE1-9B1BA783FFD5}" sibTransId="{CDCDB1D1-BFA5-4418-9B98-B885AF47B3A5}"/>
    <dgm:cxn modelId="{15E04768-F638-4B9C-9FCB-D4B8FFADF3B2}" srcId="{E826FA2F-8DF9-4F84-A929-4F0DA138E063}" destId="{70B2DF44-34FC-4788-9FB5-6B334345058D}" srcOrd="4" destOrd="0" parTransId="{544ED2F1-447B-4D28-B908-B8AA40785393}" sibTransId="{FBB0510E-F978-4063-8359-F3B0AA0F5613}"/>
    <dgm:cxn modelId="{54D0644B-772E-4DBC-AEBC-B35557030908}" srcId="{D1140553-0F2C-4E08-A6D7-E96957698816}" destId="{7AD47BAE-9CB4-432C-9257-ACCCDE15C002}" srcOrd="0" destOrd="0" parTransId="{6EE0849C-BC16-44AE-B4F4-4E3885699EAF}" sibTransId="{B2C67109-4C19-4CF1-A362-DDEA36B3260E}"/>
    <dgm:cxn modelId="{D491556D-E179-4190-88C5-A927B93DB599}" type="presOf" srcId="{700502CC-08DF-4A38-B06C-7BAE4529CD04}" destId="{988B99C9-8C3B-43DD-B195-DE7699CD3887}" srcOrd="0" destOrd="1" presId="urn:microsoft.com/office/officeart/2005/8/layout/default"/>
    <dgm:cxn modelId="{C2C44B73-1E0D-4D48-8481-64B5659842AA}" type="presOf" srcId="{424F1DCF-E6C8-484E-BBFE-3FD4CF2C4D50}" destId="{EA286E4F-7206-4C05-AD55-DC212A1A5DC4}" srcOrd="0" destOrd="2" presId="urn:microsoft.com/office/officeart/2005/8/layout/default"/>
    <dgm:cxn modelId="{D6EE5454-F124-4583-92B8-815A541410A3}" type="presOf" srcId="{03ADAECB-047A-46F4-9200-A29E2B53805A}" destId="{988B99C9-8C3B-43DD-B195-DE7699CD3887}" srcOrd="0" destOrd="0" presId="urn:microsoft.com/office/officeart/2005/8/layout/default"/>
    <dgm:cxn modelId="{5343E458-0D5A-43D6-B584-594368D6C998}" type="presOf" srcId="{9BBEF1E3-0CAD-46F1-A1A7-FDD1D2E9A001}" destId="{66092D74-200C-439C-BC45-FB0319721481}" srcOrd="0" destOrd="1" presId="urn:microsoft.com/office/officeart/2005/8/layout/default"/>
    <dgm:cxn modelId="{9D420059-F881-48BB-9A53-BF29BE41D059}" type="presOf" srcId="{9318EE55-3B8D-40BB-B3DD-40119884117B}" destId="{66092D74-200C-439C-BC45-FB0319721481}" srcOrd="0" destOrd="4" presId="urn:microsoft.com/office/officeart/2005/8/layout/default"/>
    <dgm:cxn modelId="{E7917696-46D4-4610-8BC1-F1DA75379433}" srcId="{0C05A7D9-4B26-493B-AD17-CF6F474D2605}" destId="{D1140553-0F2C-4E08-A6D7-E96957698816}" srcOrd="0" destOrd="0" parTransId="{953147A8-9B94-4655-872A-C321ED63F359}" sibTransId="{7317062B-F1CA-45AF-ACEC-CF8A4966C4E7}"/>
    <dgm:cxn modelId="{F0AC849B-EAF5-454C-B0E7-D4C9ED3AC37C}" type="presOf" srcId="{6145CC65-493A-459B-864E-BE0291E3B59B}" destId="{988B99C9-8C3B-43DD-B195-DE7699CD3887}" srcOrd="0" destOrd="3" presId="urn:microsoft.com/office/officeart/2005/8/layout/default"/>
    <dgm:cxn modelId="{E73E32A1-5DA7-4963-8151-3F51DA7EC57F}" type="presOf" srcId="{E826FA2F-8DF9-4F84-A929-4F0DA138E063}" destId="{66092D74-200C-439C-BC45-FB0319721481}" srcOrd="0" destOrd="0" presId="urn:microsoft.com/office/officeart/2005/8/layout/default"/>
    <dgm:cxn modelId="{76036AA1-43E2-4743-B935-609F3B627321}" srcId="{E826FA2F-8DF9-4F84-A929-4F0DA138E063}" destId="{D83BCC78-D56C-40B2-A4E9-119D217BB84C}" srcOrd="1" destOrd="0" parTransId="{8014555A-0CB7-4C34-ACAE-613E5E6AC076}" sibTransId="{42890CFE-C418-459F-93F0-D743808833AF}"/>
    <dgm:cxn modelId="{B9A97DA1-2B4F-430B-B12D-F49565127DF7}" srcId="{D1140553-0F2C-4E08-A6D7-E96957698816}" destId="{424F1DCF-E6C8-484E-BBFE-3FD4CF2C4D50}" srcOrd="1" destOrd="0" parTransId="{B0B1209E-36A1-4E04-98E3-7E1EE65124D5}" sibTransId="{5519A9E2-41C9-4E39-8BED-4C67155F3D79}"/>
    <dgm:cxn modelId="{AA8931AA-CDF9-49C5-BA84-24E87A85462A}" srcId="{03ADAECB-047A-46F4-9200-A29E2B53805A}" destId="{AAABA161-B816-48FE-9FF6-403447916EF6}" srcOrd="1" destOrd="0" parTransId="{9B816D66-BCA5-4EB0-97D2-6A6E68BCB7D8}" sibTransId="{CAF8154D-B656-4A60-911E-7D35FB8AFDAF}"/>
    <dgm:cxn modelId="{AF07BDBB-C5B8-4E90-9F00-034878C44E4F}" srcId="{0C05A7D9-4B26-493B-AD17-CF6F474D2605}" destId="{E826FA2F-8DF9-4F84-A929-4F0DA138E063}" srcOrd="2" destOrd="0" parTransId="{998E800D-ECE1-4951-9960-7BDD393DF063}" sibTransId="{ADE3DF73-07D5-4C55-842D-35766D1190D0}"/>
    <dgm:cxn modelId="{491BE6CA-FBC1-486F-BFBB-E42046DAE201}" type="presOf" srcId="{C15B46CF-86A6-42D1-A495-80BDE3CACF54}" destId="{66092D74-200C-439C-BC45-FB0319721481}" srcOrd="0" destOrd="3" presId="urn:microsoft.com/office/officeart/2005/8/layout/default"/>
    <dgm:cxn modelId="{808D37D2-CECB-43E0-AC4C-8A4F1875F6B3}" srcId="{03ADAECB-047A-46F4-9200-A29E2B53805A}" destId="{6145CC65-493A-459B-864E-BE0291E3B59B}" srcOrd="2" destOrd="0" parTransId="{7136BF63-0206-4684-85AB-24B66306CC42}" sibTransId="{72680BB3-04FA-41D0-987B-EFEBFE9E86BA}"/>
    <dgm:cxn modelId="{3D5C13D6-F6BA-4338-A17D-113FE2D6AE53}" type="presOf" srcId="{70B2DF44-34FC-4788-9FB5-6B334345058D}" destId="{66092D74-200C-439C-BC45-FB0319721481}" srcOrd="0" destOrd="5" presId="urn:microsoft.com/office/officeart/2005/8/layout/default"/>
    <dgm:cxn modelId="{6745D6E3-7C81-4D72-9A9D-9DA45951D4FE}" type="presOf" srcId="{0C05A7D9-4B26-493B-AD17-CF6F474D2605}" destId="{4C92CBA6-378A-4AC4-8B81-EBCFC25998B5}" srcOrd="0" destOrd="0" presId="urn:microsoft.com/office/officeart/2005/8/layout/default"/>
    <dgm:cxn modelId="{D80F59F2-197D-4BBE-97BA-B236BA3F2474}" type="presOf" srcId="{7AD47BAE-9CB4-432C-9257-ACCCDE15C002}" destId="{EA286E4F-7206-4C05-AD55-DC212A1A5DC4}" srcOrd="0" destOrd="1" presId="urn:microsoft.com/office/officeart/2005/8/layout/default"/>
    <dgm:cxn modelId="{44FEC6F3-CD5F-4D55-BD9A-9703921E8A67}" srcId="{03ADAECB-047A-46F4-9200-A29E2B53805A}" destId="{700502CC-08DF-4A38-B06C-7BAE4529CD04}" srcOrd="0" destOrd="0" parTransId="{7D4D8014-F1DB-411D-A99F-000FBF67510A}" sibTransId="{3AA66E2B-C7F4-4738-B0C6-89117339686D}"/>
    <dgm:cxn modelId="{E120AE7C-D10B-4B9D-B5CC-98A7A2F52163}" type="presParOf" srcId="{4C92CBA6-378A-4AC4-8B81-EBCFC25998B5}" destId="{EA286E4F-7206-4C05-AD55-DC212A1A5DC4}" srcOrd="0" destOrd="0" presId="urn:microsoft.com/office/officeart/2005/8/layout/default"/>
    <dgm:cxn modelId="{784494CC-5269-4AF8-BCF7-C307D1445A31}" type="presParOf" srcId="{4C92CBA6-378A-4AC4-8B81-EBCFC25998B5}" destId="{F80C4730-0173-4C1A-9B71-4C9F48B5C63F}" srcOrd="1" destOrd="0" presId="urn:microsoft.com/office/officeart/2005/8/layout/default"/>
    <dgm:cxn modelId="{B46B4E1F-F1DC-4AC6-882D-61C91533FC34}" type="presParOf" srcId="{4C92CBA6-378A-4AC4-8B81-EBCFC25998B5}" destId="{988B99C9-8C3B-43DD-B195-DE7699CD3887}" srcOrd="2" destOrd="0" presId="urn:microsoft.com/office/officeart/2005/8/layout/default"/>
    <dgm:cxn modelId="{B1A08335-D9F6-4604-ADAF-87C1ED565281}" type="presParOf" srcId="{4C92CBA6-378A-4AC4-8B81-EBCFC25998B5}" destId="{8757694E-B58D-42BB-9481-BBB0585FB9A2}" srcOrd="3" destOrd="0" presId="urn:microsoft.com/office/officeart/2005/8/layout/default"/>
    <dgm:cxn modelId="{C5342EED-CF48-48D1-8FEB-7B595423EFEB}" type="presParOf" srcId="{4C92CBA6-378A-4AC4-8B81-EBCFC25998B5}" destId="{66092D74-200C-439C-BC45-FB0319721481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F388ED1-67EA-4C52-A4EF-B33800D3CCFC}" type="doc">
      <dgm:prSet loTypeId="urn:microsoft.com/office/officeart/2018/2/layout/IconLabel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4C96D5D-A300-45E1-8162-B0468AA37BF6}" type="parTrans" cxnId="{2395A558-CCAD-47F9-A1A7-138DE70F0F7D}">
      <dgm:prSet/>
      <dgm:spPr/>
      <dgm:t>
        <a:bodyPr/>
        <a:lstStyle/>
        <a:p>
          <a:endParaRPr lang="en-US"/>
        </a:p>
      </dgm:t>
    </dgm:pt>
    <dgm:pt modelId="{6765D87C-7CC0-41A0-B409-35F7C6713B98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irtualne interakcje</a:t>
          </a:r>
          <a:endParaRPr lang="en-US"/>
        </a:p>
      </dgm:t>
    </dgm:pt>
    <dgm:pt modelId="{4C6C75F7-926F-45DD-9F25-3A9FC1E581A0}" type="sibTrans" cxnId="{2395A558-CCAD-47F9-A1A7-138DE70F0F7D}">
      <dgm:prSet/>
      <dgm:spPr/>
      <dgm:t>
        <a:bodyPr/>
        <a:lstStyle/>
        <a:p>
          <a:endParaRPr lang="en-US"/>
        </a:p>
      </dgm:t>
    </dgm:pt>
    <dgm:pt modelId="{40235C9D-7692-4244-97C2-DBBB4D4D2FF7}" type="parTrans" cxnId="{E5F92643-0A8C-4123-94E4-AF0B6B0CD1C9}">
      <dgm:prSet/>
      <dgm:spPr/>
      <dgm:t>
        <a:bodyPr/>
        <a:lstStyle/>
        <a:p>
          <a:endParaRPr lang="en-US"/>
        </a:p>
      </dgm:t>
    </dgm:pt>
    <dgm:pt modelId="{6231BEAF-70FD-4AEB-A281-E1C3F7CDE657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rzyjęcia świąteczne</a:t>
          </a:r>
          <a:endParaRPr lang="en-US"/>
        </a:p>
      </dgm:t>
    </dgm:pt>
    <dgm:pt modelId="{D81DA91B-005B-4E14-AFDF-C8B3B3160C6B}" type="sibTrans" cxnId="{E5F92643-0A8C-4123-94E4-AF0B6B0CD1C9}">
      <dgm:prSet/>
      <dgm:spPr/>
      <dgm:t>
        <a:bodyPr/>
        <a:lstStyle/>
        <a:p>
          <a:endParaRPr lang="en-US"/>
        </a:p>
      </dgm:t>
    </dgm:pt>
    <dgm:pt modelId="{D5730169-979E-469C-ABDC-5BB87EC4A7D0}" type="parTrans" cxnId="{B3756CC5-4FC1-40DD-812E-D5740BA94B77}">
      <dgm:prSet/>
      <dgm:spPr/>
      <dgm:t>
        <a:bodyPr/>
        <a:lstStyle/>
        <a:p>
          <a:endParaRPr lang="en-US"/>
        </a:p>
      </dgm:t>
    </dgm:pt>
    <dgm:pt modelId="{27B0C93C-65AD-44AE-BD1D-79565B1AB665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siłki</a:t>
          </a:r>
          <a:endParaRPr lang="en-US"/>
        </a:p>
      </dgm:t>
    </dgm:pt>
    <dgm:pt modelId="{FFF4DE70-A941-428D-AD23-FDC4AC01E7E7}" type="sibTrans" cxnId="{B3756CC5-4FC1-40DD-812E-D5740BA94B77}">
      <dgm:prSet/>
      <dgm:spPr/>
      <dgm:t>
        <a:bodyPr/>
        <a:lstStyle/>
        <a:p>
          <a:endParaRPr lang="en-US"/>
        </a:p>
      </dgm:t>
    </dgm:pt>
    <dgm:pt modelId="{6BBA676C-6505-47E3-B24D-7F015100F287}" type="parTrans" cxnId="{2A4CAF53-60EF-45CE-8608-047D6F9138E6}">
      <dgm:prSet/>
      <dgm:spPr/>
      <dgm:t>
        <a:bodyPr/>
        <a:lstStyle/>
        <a:p>
          <a:endParaRPr lang="en-US"/>
        </a:p>
      </dgm:t>
    </dgm:pt>
    <dgm:pt modelId="{97980F97-FD8E-4850-8583-B12FD0A71EDD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Konferencje i targi</a:t>
          </a:r>
          <a:endParaRPr lang="en-US"/>
        </a:p>
      </dgm:t>
    </dgm:pt>
    <dgm:pt modelId="{07441A10-64D9-4416-B8F3-0938FE902A71}" type="sibTrans" cxnId="{2A4CAF53-60EF-45CE-8608-047D6F9138E6}">
      <dgm:prSet/>
      <dgm:spPr/>
      <dgm:t>
        <a:bodyPr/>
        <a:lstStyle/>
        <a:p>
          <a:endParaRPr lang="en-US"/>
        </a:p>
      </dgm:t>
    </dgm:pt>
    <dgm:pt modelId="{DFC14506-07D7-4BAC-AF9E-C1E3B04DA640}" type="parTrans" cxnId="{53017909-EE09-434E-9B31-FBA59A3E6BBB}">
      <dgm:prSet/>
      <dgm:spPr/>
      <dgm:t>
        <a:bodyPr/>
        <a:lstStyle/>
        <a:p>
          <a:endParaRPr lang="en-US"/>
        </a:p>
      </dgm:t>
    </dgm:pt>
    <dgm:pt modelId="{349FD996-44AE-4207-8571-5AD7FE467F82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dróże służbowe</a:t>
          </a:r>
          <a:endParaRPr lang="en-US"/>
        </a:p>
      </dgm:t>
    </dgm:pt>
    <dgm:pt modelId="{429D8192-9264-4781-9A0B-4D8DF4D0516E}" type="sibTrans" cxnId="{53017909-EE09-434E-9B31-FBA59A3E6BBB}">
      <dgm:prSet/>
      <dgm:spPr/>
      <dgm:t>
        <a:bodyPr/>
        <a:lstStyle/>
        <a:p>
          <a:endParaRPr lang="en-US"/>
        </a:p>
      </dgm:t>
    </dgm:pt>
    <dgm:pt modelId="{5955E5F5-4EA7-43CB-959C-41431C3D878F}" type="parTrans" cxnId="{12D5E169-E6F9-4F4A-AB52-7B5894EF99D5}">
      <dgm:prSet/>
      <dgm:spPr/>
      <dgm:t>
        <a:bodyPr/>
        <a:lstStyle/>
        <a:p>
          <a:endParaRPr lang="en-US"/>
        </a:p>
      </dgm:t>
    </dgm:pt>
    <dgm:pt modelId="{253C37E7-9A9E-4D16-802A-A24456CEAAE1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pl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racownicy zdalni i domowi</a:t>
          </a:r>
          <a:endParaRPr lang="en-US"/>
        </a:p>
      </dgm:t>
    </dgm:pt>
    <dgm:pt modelId="{FE96DB33-C5B7-4DEB-82B2-0B1CE90A4D2B}" type="sibTrans" cxnId="{12D5E169-E6F9-4F4A-AB52-7B5894EF99D5}">
      <dgm:prSet/>
      <dgm:spPr/>
      <dgm:t>
        <a:bodyPr/>
        <a:lstStyle/>
        <a:p>
          <a:endParaRPr lang="en-US"/>
        </a:p>
      </dgm:t>
    </dgm:pt>
    <dgm:pt modelId="{C3088A38-995F-4EC6-9F78-BAFAEAF4162C}" type="pres">
      <dgm:prSet presAssocID="{3F388ED1-67EA-4C52-A4EF-B33800D3CCFC}" presName="root" presStyleCnt="0">
        <dgm:presLayoutVars>
          <dgm:dir/>
          <dgm:resizeHandles val="exact"/>
        </dgm:presLayoutVars>
      </dgm:prSet>
      <dgm:spPr/>
    </dgm:pt>
    <dgm:pt modelId="{D05E4E73-9587-4A56-B8AA-2D6161B9C368}" type="pres">
      <dgm:prSet presAssocID="{6765D87C-7CC0-41A0-B409-35F7C6713B98}" presName="compNode" presStyleCnt="0"/>
      <dgm:spPr/>
    </dgm:pt>
    <dgm:pt modelId="{D99A27DE-1A9D-4CFC-BE2E-D6325D4C73B2}" type="pres">
      <dgm:prSet presAssocID="{6765D87C-7CC0-41A0-B409-35F7C6713B98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ll center"/>
        </a:ext>
      </dgm:extLst>
    </dgm:pt>
    <dgm:pt modelId="{8667B507-D177-4EC0-A407-1521B796D904}" type="pres">
      <dgm:prSet presAssocID="{6765D87C-7CC0-41A0-B409-35F7C6713B98}" presName="spaceRect" presStyleCnt="0"/>
      <dgm:spPr/>
    </dgm:pt>
    <dgm:pt modelId="{79FCE879-EDA8-4A56-B9E8-3934B4682EB9}" type="pres">
      <dgm:prSet presAssocID="{6765D87C-7CC0-41A0-B409-35F7C6713B98}" presName="textRect" presStyleLbl="revTx" presStyleIdx="0" presStyleCnt="6">
        <dgm:presLayoutVars>
          <dgm:chMax val="1"/>
          <dgm:chPref val="1"/>
        </dgm:presLayoutVars>
      </dgm:prSet>
      <dgm:spPr/>
    </dgm:pt>
    <dgm:pt modelId="{6E752127-53E6-4E86-8330-1CDB423EB111}" type="pres">
      <dgm:prSet presAssocID="{4C6C75F7-926F-45DD-9F25-3A9FC1E581A0}" presName="sibTrans" presStyleCnt="0"/>
      <dgm:spPr/>
    </dgm:pt>
    <dgm:pt modelId="{4425BB72-67F0-47AF-9B82-CA0521543AF0}" type="pres">
      <dgm:prSet presAssocID="{6231BEAF-70FD-4AEB-A281-E1C3F7CDE657}" presName="compNode" presStyleCnt="0"/>
      <dgm:spPr/>
    </dgm:pt>
    <dgm:pt modelId="{B02E9D7E-F6E6-43AD-AAC9-B8DAE5007E4C}" type="pres">
      <dgm:prSet presAssocID="{6231BEAF-70FD-4AEB-A281-E1C3F7CDE657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sent"/>
        </a:ext>
      </dgm:extLst>
    </dgm:pt>
    <dgm:pt modelId="{47A43DDC-EDCF-451A-BC7A-3BA7127C9D9D}" type="pres">
      <dgm:prSet presAssocID="{6231BEAF-70FD-4AEB-A281-E1C3F7CDE657}" presName="spaceRect" presStyleCnt="0"/>
      <dgm:spPr/>
    </dgm:pt>
    <dgm:pt modelId="{C645D0FB-691D-4DD1-A770-EFD951B22D94}" type="pres">
      <dgm:prSet presAssocID="{6231BEAF-70FD-4AEB-A281-E1C3F7CDE657}" presName="textRect" presStyleLbl="revTx" presStyleIdx="1" presStyleCnt="6">
        <dgm:presLayoutVars>
          <dgm:chMax val="1"/>
          <dgm:chPref val="1"/>
        </dgm:presLayoutVars>
      </dgm:prSet>
      <dgm:spPr/>
    </dgm:pt>
    <dgm:pt modelId="{81722C06-5ED7-488E-B671-DA04CF4D005E}" type="pres">
      <dgm:prSet presAssocID="{D81DA91B-005B-4E14-AFDF-C8B3B3160C6B}" presName="sibTrans" presStyleCnt="0"/>
      <dgm:spPr/>
    </dgm:pt>
    <dgm:pt modelId="{492226F2-ECB5-4A9A-83B3-1D3658F8ECC7}" type="pres">
      <dgm:prSet presAssocID="{27B0C93C-65AD-44AE-BD1D-79565B1AB665}" presName="compNode" presStyleCnt="0"/>
      <dgm:spPr/>
    </dgm:pt>
    <dgm:pt modelId="{4E3EF8FC-D81C-4C6A-806C-EA4743F4BA77}" type="pres">
      <dgm:prSet presAssocID="{27B0C93C-65AD-44AE-BD1D-79565B1AB665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ork and knife"/>
        </a:ext>
      </dgm:extLst>
    </dgm:pt>
    <dgm:pt modelId="{28B72FB2-153D-41A2-BD5A-3D59DFAA907C}" type="pres">
      <dgm:prSet presAssocID="{27B0C93C-65AD-44AE-BD1D-79565B1AB665}" presName="spaceRect" presStyleCnt="0"/>
      <dgm:spPr/>
    </dgm:pt>
    <dgm:pt modelId="{055E8662-2533-42D8-B4B8-521917D7DEAC}" type="pres">
      <dgm:prSet presAssocID="{27B0C93C-65AD-44AE-BD1D-79565B1AB665}" presName="textRect" presStyleLbl="revTx" presStyleIdx="2" presStyleCnt="6">
        <dgm:presLayoutVars>
          <dgm:chMax val="1"/>
          <dgm:chPref val="1"/>
        </dgm:presLayoutVars>
      </dgm:prSet>
      <dgm:spPr/>
    </dgm:pt>
    <dgm:pt modelId="{F24FB88B-8951-44CD-B4BE-2C3E45E0842B}" type="pres">
      <dgm:prSet presAssocID="{FFF4DE70-A941-428D-AD23-FDC4AC01E7E7}" presName="sibTrans" presStyleCnt="0"/>
      <dgm:spPr/>
    </dgm:pt>
    <dgm:pt modelId="{01DDB054-2946-4508-A072-B38236E42C83}" type="pres">
      <dgm:prSet presAssocID="{97980F97-FD8E-4850-8583-B12FD0A71EDD}" presName="compNode" presStyleCnt="0"/>
      <dgm:spPr/>
    </dgm:pt>
    <dgm:pt modelId="{57CC4C62-BD4B-45BD-83D8-0A29B71FFADD}" type="pres">
      <dgm:prSet presAssocID="{97980F97-FD8E-4850-8583-B12FD0A71EDD}" presName="iconRect" presStyleLbl="node1" presStyleIdx="3" presStyleCnt="6" custLinFactNeighborX="9279" custLinFactNeighborY="1136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86E0AAC4-6666-4366-86EF-3252C8C6CA8F}" type="pres">
      <dgm:prSet presAssocID="{97980F97-FD8E-4850-8583-B12FD0A71EDD}" presName="spaceRect" presStyleCnt="0"/>
      <dgm:spPr/>
    </dgm:pt>
    <dgm:pt modelId="{C247C313-91DA-4206-839D-B34E91EFC201}" type="pres">
      <dgm:prSet presAssocID="{97980F97-FD8E-4850-8583-B12FD0A71EDD}" presName="textRect" presStyleLbl="revTx" presStyleIdx="3" presStyleCnt="6" custLinFactNeighborX="3574" custLinFactNeighborY="-6017">
        <dgm:presLayoutVars>
          <dgm:chMax val="1"/>
          <dgm:chPref val="1"/>
        </dgm:presLayoutVars>
      </dgm:prSet>
      <dgm:spPr/>
    </dgm:pt>
    <dgm:pt modelId="{C71F7B83-B8BC-43D9-B497-AE47E4C88717}" type="pres">
      <dgm:prSet presAssocID="{07441A10-64D9-4416-B8F3-0938FE902A71}" presName="sibTrans" presStyleCnt="0"/>
      <dgm:spPr/>
    </dgm:pt>
    <dgm:pt modelId="{5695538A-F7DD-43EC-A3B0-2C1F8C3AF035}" type="pres">
      <dgm:prSet presAssocID="{349FD996-44AE-4207-8571-5AD7FE467F82}" presName="compNode" presStyleCnt="0"/>
      <dgm:spPr/>
    </dgm:pt>
    <dgm:pt modelId="{E86A0C04-E9B4-4015-A6A8-3FB1046B29CE}" type="pres">
      <dgm:prSet presAssocID="{349FD996-44AE-4207-8571-5AD7FE467F82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irplane"/>
        </a:ext>
      </dgm:extLst>
    </dgm:pt>
    <dgm:pt modelId="{D2D79CFB-0CF4-4C0C-BEB0-EA6D92F581EA}" type="pres">
      <dgm:prSet presAssocID="{349FD996-44AE-4207-8571-5AD7FE467F82}" presName="spaceRect" presStyleCnt="0"/>
      <dgm:spPr/>
    </dgm:pt>
    <dgm:pt modelId="{4218699A-9F44-43C4-BACD-AFA07472911A}" type="pres">
      <dgm:prSet presAssocID="{349FD996-44AE-4207-8571-5AD7FE467F82}" presName="textRect" presStyleLbl="revTx" presStyleIdx="4" presStyleCnt="6">
        <dgm:presLayoutVars>
          <dgm:chMax val="1"/>
          <dgm:chPref val="1"/>
        </dgm:presLayoutVars>
      </dgm:prSet>
      <dgm:spPr/>
    </dgm:pt>
    <dgm:pt modelId="{0054ECED-2F46-4FA7-AC87-F6DA2C7F139B}" type="pres">
      <dgm:prSet presAssocID="{429D8192-9264-4781-9A0B-4D8DF4D0516E}" presName="sibTrans" presStyleCnt="0"/>
      <dgm:spPr/>
    </dgm:pt>
    <dgm:pt modelId="{07CB86F6-7387-449F-BCEA-84E42CC7E22F}" type="pres">
      <dgm:prSet presAssocID="{253C37E7-9A9E-4D16-802A-A24456CEAAE1}" presName="compNode" presStyleCnt="0"/>
      <dgm:spPr/>
    </dgm:pt>
    <dgm:pt modelId="{5421B5D6-8F0B-4CBE-B7B3-DBCDD202F370}" type="pres">
      <dgm:prSet presAssocID="{253C37E7-9A9E-4D16-802A-A24456CEAAE1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itor"/>
        </a:ext>
      </dgm:extLst>
    </dgm:pt>
    <dgm:pt modelId="{EBBF4D40-2EF1-4012-ABEC-74915D189F7E}" type="pres">
      <dgm:prSet presAssocID="{253C37E7-9A9E-4D16-802A-A24456CEAAE1}" presName="spaceRect" presStyleCnt="0"/>
      <dgm:spPr/>
    </dgm:pt>
    <dgm:pt modelId="{F8CD23AD-0F84-4328-BCA7-961CDC0F9CC6}" type="pres">
      <dgm:prSet presAssocID="{253C37E7-9A9E-4D16-802A-A24456CEAAE1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53017909-EE09-434E-9B31-FBA59A3E6BBB}" srcId="{3F388ED1-67EA-4C52-A4EF-B33800D3CCFC}" destId="{349FD996-44AE-4207-8571-5AD7FE467F82}" srcOrd="4" destOrd="0" parTransId="{DFC14506-07D7-4BAC-AF9E-C1E3B04DA640}" sibTransId="{429D8192-9264-4781-9A0B-4D8DF4D0516E}"/>
    <dgm:cxn modelId="{CBB6FF11-D621-492A-956F-6DFCA11EDB16}" type="presOf" srcId="{97980F97-FD8E-4850-8583-B12FD0A71EDD}" destId="{C247C313-91DA-4206-839D-B34E91EFC201}" srcOrd="0" destOrd="0" presId="urn:microsoft.com/office/officeart/2018/2/layout/IconLabelList"/>
    <dgm:cxn modelId="{148E5040-EA34-47CB-95CB-79B507F46E47}" type="presOf" srcId="{3F388ED1-67EA-4C52-A4EF-B33800D3CCFC}" destId="{C3088A38-995F-4EC6-9F78-BAFAEAF4162C}" srcOrd="0" destOrd="0" presId="urn:microsoft.com/office/officeart/2018/2/layout/IconLabelList"/>
    <dgm:cxn modelId="{E5F92643-0A8C-4123-94E4-AF0B6B0CD1C9}" srcId="{3F388ED1-67EA-4C52-A4EF-B33800D3CCFC}" destId="{6231BEAF-70FD-4AEB-A281-E1C3F7CDE657}" srcOrd="1" destOrd="0" parTransId="{40235C9D-7692-4244-97C2-DBBB4D4D2FF7}" sibTransId="{D81DA91B-005B-4E14-AFDF-C8B3B3160C6B}"/>
    <dgm:cxn modelId="{12D5E169-E6F9-4F4A-AB52-7B5894EF99D5}" srcId="{3F388ED1-67EA-4C52-A4EF-B33800D3CCFC}" destId="{253C37E7-9A9E-4D16-802A-A24456CEAAE1}" srcOrd="5" destOrd="0" parTransId="{5955E5F5-4EA7-43CB-959C-41431C3D878F}" sibTransId="{FE96DB33-C5B7-4DEB-82B2-0B1CE90A4D2B}"/>
    <dgm:cxn modelId="{CC03A14D-1E7A-4CE0-BD84-E3FB08AF8975}" type="presOf" srcId="{349FD996-44AE-4207-8571-5AD7FE467F82}" destId="{4218699A-9F44-43C4-BACD-AFA07472911A}" srcOrd="0" destOrd="0" presId="urn:microsoft.com/office/officeart/2018/2/layout/IconLabelList"/>
    <dgm:cxn modelId="{2A4CAF53-60EF-45CE-8608-047D6F9138E6}" srcId="{3F388ED1-67EA-4C52-A4EF-B33800D3CCFC}" destId="{97980F97-FD8E-4850-8583-B12FD0A71EDD}" srcOrd="3" destOrd="0" parTransId="{6BBA676C-6505-47E3-B24D-7F015100F287}" sibTransId="{07441A10-64D9-4416-B8F3-0938FE902A71}"/>
    <dgm:cxn modelId="{2395A558-CCAD-47F9-A1A7-138DE70F0F7D}" srcId="{3F388ED1-67EA-4C52-A4EF-B33800D3CCFC}" destId="{6765D87C-7CC0-41A0-B409-35F7C6713B98}" srcOrd="0" destOrd="0" parTransId="{24C96D5D-A300-45E1-8162-B0468AA37BF6}" sibTransId="{4C6C75F7-926F-45DD-9F25-3A9FC1E581A0}"/>
    <dgm:cxn modelId="{8A917593-3711-425A-A12B-CB0F842971AD}" type="presOf" srcId="{6231BEAF-70FD-4AEB-A281-E1C3F7CDE657}" destId="{C645D0FB-691D-4DD1-A770-EFD951B22D94}" srcOrd="0" destOrd="0" presId="urn:microsoft.com/office/officeart/2018/2/layout/IconLabelList"/>
    <dgm:cxn modelId="{B3756CC5-4FC1-40DD-812E-D5740BA94B77}" srcId="{3F388ED1-67EA-4C52-A4EF-B33800D3CCFC}" destId="{27B0C93C-65AD-44AE-BD1D-79565B1AB665}" srcOrd="2" destOrd="0" parTransId="{D5730169-979E-469C-ABDC-5BB87EC4A7D0}" sibTransId="{FFF4DE70-A941-428D-AD23-FDC4AC01E7E7}"/>
    <dgm:cxn modelId="{8A87DCCE-E12D-42A1-9034-CE91EDD7BD03}" type="presOf" srcId="{27B0C93C-65AD-44AE-BD1D-79565B1AB665}" destId="{055E8662-2533-42D8-B4B8-521917D7DEAC}" srcOrd="0" destOrd="0" presId="urn:microsoft.com/office/officeart/2018/2/layout/IconLabelList"/>
    <dgm:cxn modelId="{1EA9EFD1-2ABD-4603-98B9-C82C6DA1B2C0}" type="presOf" srcId="{253C37E7-9A9E-4D16-802A-A24456CEAAE1}" destId="{F8CD23AD-0F84-4328-BCA7-961CDC0F9CC6}" srcOrd="0" destOrd="0" presId="urn:microsoft.com/office/officeart/2018/2/layout/IconLabelList"/>
    <dgm:cxn modelId="{F52D67EE-B45D-4B79-93ED-99B446CF56DE}" type="presOf" srcId="{6765D87C-7CC0-41A0-B409-35F7C6713B98}" destId="{79FCE879-EDA8-4A56-B9E8-3934B4682EB9}" srcOrd="0" destOrd="0" presId="urn:microsoft.com/office/officeart/2018/2/layout/IconLabelList"/>
    <dgm:cxn modelId="{B73B25CE-57DD-4D51-BAB9-5199B7D190CA}" type="presParOf" srcId="{C3088A38-995F-4EC6-9F78-BAFAEAF4162C}" destId="{D05E4E73-9587-4A56-B8AA-2D6161B9C368}" srcOrd="0" destOrd="0" presId="urn:microsoft.com/office/officeart/2018/2/layout/IconLabelList"/>
    <dgm:cxn modelId="{EAE5A7F8-B124-4A8C-ACE6-979889D1ED14}" type="presParOf" srcId="{D05E4E73-9587-4A56-B8AA-2D6161B9C368}" destId="{D99A27DE-1A9D-4CFC-BE2E-D6325D4C73B2}" srcOrd="0" destOrd="0" presId="urn:microsoft.com/office/officeart/2018/2/layout/IconLabelList"/>
    <dgm:cxn modelId="{8B28F18A-E93A-42B4-9088-B849E20EF1A5}" type="presParOf" srcId="{D05E4E73-9587-4A56-B8AA-2D6161B9C368}" destId="{8667B507-D177-4EC0-A407-1521B796D904}" srcOrd="1" destOrd="0" presId="urn:microsoft.com/office/officeart/2018/2/layout/IconLabelList"/>
    <dgm:cxn modelId="{8345320A-48F9-4018-BBFC-EFEC2CB2299E}" type="presParOf" srcId="{D05E4E73-9587-4A56-B8AA-2D6161B9C368}" destId="{79FCE879-EDA8-4A56-B9E8-3934B4682EB9}" srcOrd="2" destOrd="0" presId="urn:microsoft.com/office/officeart/2018/2/layout/IconLabelList"/>
    <dgm:cxn modelId="{044CA88C-E5E0-462E-86EB-05769CBFB815}" type="presParOf" srcId="{C3088A38-995F-4EC6-9F78-BAFAEAF4162C}" destId="{6E752127-53E6-4E86-8330-1CDB423EB111}" srcOrd="1" destOrd="0" presId="urn:microsoft.com/office/officeart/2018/2/layout/IconLabelList"/>
    <dgm:cxn modelId="{FC854C5B-E554-47CE-A5CE-298DBE5B7898}" type="presParOf" srcId="{C3088A38-995F-4EC6-9F78-BAFAEAF4162C}" destId="{4425BB72-67F0-47AF-9B82-CA0521543AF0}" srcOrd="2" destOrd="0" presId="urn:microsoft.com/office/officeart/2018/2/layout/IconLabelList"/>
    <dgm:cxn modelId="{9A1ECAE0-D009-4C5A-ABCA-F3328F12D99C}" type="presParOf" srcId="{4425BB72-67F0-47AF-9B82-CA0521543AF0}" destId="{B02E9D7E-F6E6-43AD-AAC9-B8DAE5007E4C}" srcOrd="0" destOrd="0" presId="urn:microsoft.com/office/officeart/2018/2/layout/IconLabelList"/>
    <dgm:cxn modelId="{090C6945-281A-4573-B783-B4550F263616}" type="presParOf" srcId="{4425BB72-67F0-47AF-9B82-CA0521543AF0}" destId="{47A43DDC-EDCF-451A-BC7A-3BA7127C9D9D}" srcOrd="1" destOrd="0" presId="urn:microsoft.com/office/officeart/2018/2/layout/IconLabelList"/>
    <dgm:cxn modelId="{0A9C9FE1-2864-47F0-9FAD-278326517C7E}" type="presParOf" srcId="{4425BB72-67F0-47AF-9B82-CA0521543AF0}" destId="{C645D0FB-691D-4DD1-A770-EFD951B22D94}" srcOrd="2" destOrd="0" presId="urn:microsoft.com/office/officeart/2018/2/layout/IconLabelList"/>
    <dgm:cxn modelId="{FD533F58-01A7-4894-BDDC-E97AE876B48D}" type="presParOf" srcId="{C3088A38-995F-4EC6-9F78-BAFAEAF4162C}" destId="{81722C06-5ED7-488E-B671-DA04CF4D005E}" srcOrd="3" destOrd="0" presId="urn:microsoft.com/office/officeart/2018/2/layout/IconLabelList"/>
    <dgm:cxn modelId="{E7D2CE9D-82C6-4E85-ABB2-C1EE0D6B2A1A}" type="presParOf" srcId="{C3088A38-995F-4EC6-9F78-BAFAEAF4162C}" destId="{492226F2-ECB5-4A9A-83B3-1D3658F8ECC7}" srcOrd="4" destOrd="0" presId="urn:microsoft.com/office/officeart/2018/2/layout/IconLabelList"/>
    <dgm:cxn modelId="{7FBF92B1-7269-4A3E-8C7E-2092C014F76D}" type="presParOf" srcId="{492226F2-ECB5-4A9A-83B3-1D3658F8ECC7}" destId="{4E3EF8FC-D81C-4C6A-806C-EA4743F4BA77}" srcOrd="0" destOrd="0" presId="urn:microsoft.com/office/officeart/2018/2/layout/IconLabelList"/>
    <dgm:cxn modelId="{7CC002A7-2A8A-434F-A6F7-DC4DCB111226}" type="presParOf" srcId="{492226F2-ECB5-4A9A-83B3-1D3658F8ECC7}" destId="{28B72FB2-153D-41A2-BD5A-3D59DFAA907C}" srcOrd="1" destOrd="0" presId="urn:microsoft.com/office/officeart/2018/2/layout/IconLabelList"/>
    <dgm:cxn modelId="{97C18124-0B60-4514-A2E2-546127DCAE9E}" type="presParOf" srcId="{492226F2-ECB5-4A9A-83B3-1D3658F8ECC7}" destId="{055E8662-2533-42D8-B4B8-521917D7DEAC}" srcOrd="2" destOrd="0" presId="urn:microsoft.com/office/officeart/2018/2/layout/IconLabelList"/>
    <dgm:cxn modelId="{8E8AE889-C62E-494B-9575-E8672CEFB77F}" type="presParOf" srcId="{C3088A38-995F-4EC6-9F78-BAFAEAF4162C}" destId="{F24FB88B-8951-44CD-B4BE-2C3E45E0842B}" srcOrd="5" destOrd="0" presId="urn:microsoft.com/office/officeart/2018/2/layout/IconLabelList"/>
    <dgm:cxn modelId="{9F0A6392-934F-4CFE-899E-EF0003CD0E61}" type="presParOf" srcId="{C3088A38-995F-4EC6-9F78-BAFAEAF4162C}" destId="{01DDB054-2946-4508-A072-B38236E42C83}" srcOrd="6" destOrd="0" presId="urn:microsoft.com/office/officeart/2018/2/layout/IconLabelList"/>
    <dgm:cxn modelId="{9CBF5733-C213-43ED-93B2-1FA977195BB4}" type="presParOf" srcId="{01DDB054-2946-4508-A072-B38236E42C83}" destId="{57CC4C62-BD4B-45BD-83D8-0A29B71FFADD}" srcOrd="0" destOrd="0" presId="urn:microsoft.com/office/officeart/2018/2/layout/IconLabelList"/>
    <dgm:cxn modelId="{0F02710A-08FC-4F79-B7EC-3A5C867919F4}" type="presParOf" srcId="{01DDB054-2946-4508-A072-B38236E42C83}" destId="{86E0AAC4-6666-4366-86EF-3252C8C6CA8F}" srcOrd="1" destOrd="0" presId="urn:microsoft.com/office/officeart/2018/2/layout/IconLabelList"/>
    <dgm:cxn modelId="{D9F1C2B0-21EA-4283-BE51-4E828191C46C}" type="presParOf" srcId="{01DDB054-2946-4508-A072-B38236E42C83}" destId="{C247C313-91DA-4206-839D-B34E91EFC201}" srcOrd="2" destOrd="0" presId="urn:microsoft.com/office/officeart/2018/2/layout/IconLabelList"/>
    <dgm:cxn modelId="{D528D8B2-860B-4959-AA54-445C7193E7C8}" type="presParOf" srcId="{C3088A38-995F-4EC6-9F78-BAFAEAF4162C}" destId="{C71F7B83-B8BC-43D9-B497-AE47E4C88717}" srcOrd="7" destOrd="0" presId="urn:microsoft.com/office/officeart/2018/2/layout/IconLabelList"/>
    <dgm:cxn modelId="{6A2C192B-6289-4F4A-B3B9-016F8717C29A}" type="presParOf" srcId="{C3088A38-995F-4EC6-9F78-BAFAEAF4162C}" destId="{5695538A-F7DD-43EC-A3B0-2C1F8C3AF035}" srcOrd="8" destOrd="0" presId="urn:microsoft.com/office/officeart/2018/2/layout/IconLabelList"/>
    <dgm:cxn modelId="{8B584FF0-3E45-4F34-85BF-24A83BDC83E2}" type="presParOf" srcId="{5695538A-F7DD-43EC-A3B0-2C1F8C3AF035}" destId="{E86A0C04-E9B4-4015-A6A8-3FB1046B29CE}" srcOrd="0" destOrd="0" presId="urn:microsoft.com/office/officeart/2018/2/layout/IconLabelList"/>
    <dgm:cxn modelId="{2908AF4E-DA45-46D8-ACF4-E1C339C8DDC4}" type="presParOf" srcId="{5695538A-F7DD-43EC-A3B0-2C1F8C3AF035}" destId="{D2D79CFB-0CF4-4C0C-BEB0-EA6D92F581EA}" srcOrd="1" destOrd="0" presId="urn:microsoft.com/office/officeart/2018/2/layout/IconLabelList"/>
    <dgm:cxn modelId="{B465EC8E-9A23-4E8D-83AF-CA379D3602B0}" type="presParOf" srcId="{5695538A-F7DD-43EC-A3B0-2C1F8C3AF035}" destId="{4218699A-9F44-43C4-BACD-AFA07472911A}" srcOrd="2" destOrd="0" presId="urn:microsoft.com/office/officeart/2018/2/layout/IconLabelList"/>
    <dgm:cxn modelId="{99D71F65-76D2-4043-98BE-2FA7AB8FDFA6}" type="presParOf" srcId="{C3088A38-995F-4EC6-9F78-BAFAEAF4162C}" destId="{0054ECED-2F46-4FA7-AC87-F6DA2C7F139B}" srcOrd="9" destOrd="0" presId="urn:microsoft.com/office/officeart/2018/2/layout/IconLabelList"/>
    <dgm:cxn modelId="{2D7253DE-0790-43F4-9E5A-8EA5D280C8A0}" type="presParOf" srcId="{C3088A38-995F-4EC6-9F78-BAFAEAF4162C}" destId="{07CB86F6-7387-449F-BCEA-84E42CC7E22F}" srcOrd="10" destOrd="0" presId="urn:microsoft.com/office/officeart/2018/2/layout/IconLabelList"/>
    <dgm:cxn modelId="{65AD2FC9-6B32-4191-A115-859409EE97B8}" type="presParOf" srcId="{07CB86F6-7387-449F-BCEA-84E42CC7E22F}" destId="{5421B5D6-8F0B-4CBE-B7B3-DBCDD202F370}" srcOrd="0" destOrd="0" presId="urn:microsoft.com/office/officeart/2018/2/layout/IconLabelList"/>
    <dgm:cxn modelId="{F25928F1-E5EC-4EAF-A946-548F74DD963D}" type="presParOf" srcId="{07CB86F6-7387-449F-BCEA-84E42CC7E22F}" destId="{EBBF4D40-2EF1-4012-ABEC-74915D189F7E}" srcOrd="1" destOrd="0" presId="urn:microsoft.com/office/officeart/2018/2/layout/IconLabelList"/>
    <dgm:cxn modelId="{4F20A16F-823C-4147-8A2D-F8EB0816DD23}" type="presParOf" srcId="{07CB86F6-7387-449F-BCEA-84E42CC7E22F}" destId="{F8CD23AD-0F84-4328-BCA7-961CDC0F9CC6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BCA4F3-8F30-418C-9B3B-9FAE6FBB2AFD}">
      <dsp:nvSpPr>
        <dsp:cNvPr id="0" name=""/>
        <dsp:cNvSpPr/>
      </dsp:nvSpPr>
      <dsp:spPr>
        <a:xfrm>
          <a:off x="0" y="2009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1DE14D-271D-4E48-A734-F66D4AA6B04D}">
      <dsp:nvSpPr>
        <dsp:cNvPr id="0" name=""/>
        <dsp:cNvSpPr/>
      </dsp:nvSpPr>
      <dsp:spPr>
        <a:xfrm>
          <a:off x="308107" y="231180"/>
          <a:ext cx="560195" cy="56019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EBE8A2-D7D4-4676-91C2-0669EA92AE50}">
      <dsp:nvSpPr>
        <dsp:cNvPr id="0" name=""/>
        <dsp:cNvSpPr/>
      </dsp:nvSpPr>
      <dsp:spPr>
        <a:xfrm>
          <a:off x="1176411" y="2009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Każdy chce być częścią zespołu, który jest pełen szacunku i odnosi sukcesy</a:t>
          </a:r>
          <a:endParaRPr lang="en-US" kern="1200"/>
        </a:p>
      </dsp:txBody>
      <dsp:txXfrm>
        <a:off x="1176411" y="2009"/>
        <a:ext cx="6898424" cy="1018537"/>
      </dsp:txXfrm>
    </dsp:sp>
    <dsp:sp modelId="{62399D1D-6A37-4655-9B96-57525ECC5F52}">
      <dsp:nvSpPr>
        <dsp:cNvPr id="0" name=""/>
        <dsp:cNvSpPr/>
      </dsp:nvSpPr>
      <dsp:spPr>
        <a:xfrm>
          <a:off x="0" y="1275181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1AAD55-36A6-40B9-B55F-EEF840079F1A}">
      <dsp:nvSpPr>
        <dsp:cNvPr id="0" name=""/>
        <dsp:cNvSpPr/>
      </dsp:nvSpPr>
      <dsp:spPr>
        <a:xfrm>
          <a:off x="308107" y="1504352"/>
          <a:ext cx="560195" cy="56019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9238B2-9DB9-4BD7-8219-1D04AF10EADE}">
      <dsp:nvSpPr>
        <dsp:cNvPr id="0" name=""/>
        <dsp:cNvSpPr/>
      </dsp:nvSpPr>
      <dsp:spPr>
        <a:xfrm>
          <a:off x="1176411" y="1275181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 ramach programu V&amp;E of 168 przestrzega się zasad zapobiegania dyskryminacji i nękaniu, które wymagają zaangażowania wszystkich</a:t>
          </a:r>
          <a:endParaRPr lang="en-US" kern="1200"/>
        </a:p>
      </dsp:txBody>
      <dsp:txXfrm>
        <a:off x="1176411" y="1275181"/>
        <a:ext cx="6898424" cy="1018537"/>
      </dsp:txXfrm>
    </dsp:sp>
    <dsp:sp modelId="{2194DC87-0EB3-47A9-A710-50B67ABE9595}">
      <dsp:nvSpPr>
        <dsp:cNvPr id="0" name=""/>
        <dsp:cNvSpPr/>
      </dsp:nvSpPr>
      <dsp:spPr>
        <a:xfrm>
          <a:off x="0" y="2548354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043F58-D2C7-4873-8DE7-E85D1568F29E}">
      <dsp:nvSpPr>
        <dsp:cNvPr id="0" name=""/>
        <dsp:cNvSpPr/>
      </dsp:nvSpPr>
      <dsp:spPr>
        <a:xfrm>
          <a:off x="308107" y="2777525"/>
          <a:ext cx="560195" cy="56019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1693E8-D0B4-4833-BD20-F0400943806F}">
      <dsp:nvSpPr>
        <dsp:cNvPr id="0" name=""/>
        <dsp:cNvSpPr/>
      </dsp:nvSpPr>
      <dsp:spPr>
        <a:xfrm>
          <a:off x="1176411" y="2548354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PM nie toleruje braku szacunku, nękania ani dyskryminacji w żadnej formie</a:t>
          </a:r>
          <a:endParaRPr lang="en-US" kern="1200"/>
        </a:p>
      </dsp:txBody>
      <dsp:txXfrm>
        <a:off x="1176411" y="2548354"/>
        <a:ext cx="6898424" cy="1018537"/>
      </dsp:txXfrm>
    </dsp:sp>
    <dsp:sp modelId="{AEF938DC-0277-4425-B5AA-B6E145ABDF3E}">
      <dsp:nvSpPr>
        <dsp:cNvPr id="0" name=""/>
        <dsp:cNvSpPr/>
      </dsp:nvSpPr>
      <dsp:spPr>
        <a:xfrm>
          <a:off x="0" y="3821526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8DF815-E4EC-4C8B-89A3-02381B28C402}">
      <dsp:nvSpPr>
        <dsp:cNvPr id="0" name=""/>
        <dsp:cNvSpPr/>
      </dsp:nvSpPr>
      <dsp:spPr>
        <a:xfrm>
          <a:off x="308107" y="4050697"/>
          <a:ext cx="560195" cy="56019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931F5D-5E16-4A87-A9D2-51F34F2AEE47}">
      <dsp:nvSpPr>
        <dsp:cNvPr id="0" name=""/>
        <dsp:cNvSpPr/>
      </dsp:nvSpPr>
      <dsp:spPr>
        <a:xfrm>
          <a:off x="1176411" y="3821526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szyscy musimy się upewnić, że nasze postępowanie odzwierciedla wartości RPM, a w przypadku zauważenia niewłaściwego postępowania musimy podjąć działania</a:t>
          </a:r>
          <a:endParaRPr lang="en-US" kern="1200"/>
        </a:p>
      </dsp:txBody>
      <dsp:txXfrm>
        <a:off x="1176411" y="3821526"/>
        <a:ext cx="6898424" cy="10185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F8FA57-199B-4FDE-9C3F-99E925313025}">
      <dsp:nvSpPr>
        <dsp:cNvPr id="0" name=""/>
        <dsp:cNvSpPr/>
      </dsp:nvSpPr>
      <dsp:spPr>
        <a:xfrm>
          <a:off x="129323" y="1740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Twoje zachowanie sprawia, że ludzie czują się niekomfortowo lub tworzy niepotrzebny konflikt?</a:t>
          </a:r>
          <a:endParaRPr lang="en-US" kern="1200"/>
        </a:p>
      </dsp:txBody>
      <dsp:txXfrm>
        <a:off x="129323" y="1740"/>
        <a:ext cx="3721994" cy="2233196"/>
      </dsp:txXfrm>
    </dsp:sp>
    <dsp:sp modelId="{8E972E1B-CF68-4A49-915B-097B6B17B149}">
      <dsp:nvSpPr>
        <dsp:cNvPr id="0" name=""/>
        <dsp:cNvSpPr/>
      </dsp:nvSpPr>
      <dsp:spPr>
        <a:xfrm>
          <a:off x="4223517" y="1740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byliby Państwo zakłopotani, gdyby Państwa przyjaciele, rodzina lub liderzy społeczności dowiedzieli się o Państwa zachowaniu?</a:t>
          </a:r>
          <a:endParaRPr lang="en-US" kern="1200"/>
        </a:p>
      </dsp:txBody>
      <dsp:txXfrm>
        <a:off x="4223517" y="1740"/>
        <a:ext cx="3721994" cy="2233196"/>
      </dsp:txXfrm>
    </dsp:sp>
    <dsp:sp modelId="{243CC102-BC16-4CF6-99B1-D3653BCF54DD}">
      <dsp:nvSpPr>
        <dsp:cNvPr id="0" name=""/>
        <dsp:cNvSpPr/>
      </dsp:nvSpPr>
      <dsp:spPr>
        <a:xfrm>
          <a:off x="129323" y="2607136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Twoje zachowanie jest istotne lub konieczne dla Twojej pracy lub wyników?</a:t>
          </a:r>
          <a:endParaRPr lang="en-US" kern="1200"/>
        </a:p>
      </dsp:txBody>
      <dsp:txXfrm>
        <a:off x="129323" y="2607136"/>
        <a:ext cx="3721994" cy="2233196"/>
      </dsp:txXfrm>
    </dsp:sp>
    <dsp:sp modelId="{3345AED3-E8AE-40AD-B56E-281783EF31F5}">
      <dsp:nvSpPr>
        <dsp:cNvPr id="0" name=""/>
        <dsp:cNvSpPr/>
      </dsp:nvSpPr>
      <dsp:spPr>
        <a:xfrm>
          <a:off x="4223517" y="2607136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Jeśli odpowiesz „tak” na którekolwiek z tych pytań, zastanów się, czy to, co robisz lub mówisz, jest właściwe.</a:t>
          </a:r>
          <a:endParaRPr lang="en-US" kern="1200"/>
        </a:p>
      </dsp:txBody>
      <dsp:txXfrm>
        <a:off x="4223517" y="2607136"/>
        <a:ext cx="3721994" cy="223319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F51E0D-D045-4E2B-AB0C-4F2EC15C2742}">
      <dsp:nvSpPr>
        <dsp:cNvPr id="0" name=""/>
        <dsp:cNvSpPr/>
      </dsp:nvSpPr>
      <dsp:spPr>
        <a:xfrm>
          <a:off x="0" y="2137"/>
          <a:ext cx="1524000" cy="59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Kontakt wzrokowy</a:t>
          </a:r>
        </a:p>
      </dsp:txBody>
      <dsp:txXfrm>
        <a:off x="0" y="2137"/>
        <a:ext cx="1524000" cy="594000"/>
      </dsp:txXfrm>
    </dsp:sp>
    <dsp:sp modelId="{FC80247D-E118-4105-90BF-F29AB52D411B}">
      <dsp:nvSpPr>
        <dsp:cNvPr id="0" name=""/>
        <dsp:cNvSpPr/>
      </dsp:nvSpPr>
      <dsp:spPr>
        <a:xfrm>
          <a:off x="1523999" y="2137"/>
          <a:ext cx="304800" cy="594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929079-7C2E-4F45-A6B9-1B7792F83AEF}">
      <dsp:nvSpPr>
        <dsp:cNvPr id="0" name=""/>
        <dsp:cNvSpPr/>
      </dsp:nvSpPr>
      <dsp:spPr>
        <a:xfrm>
          <a:off x="1950719" y="2137"/>
          <a:ext cx="4145280" cy="59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osoba nawiązująca kontakt wzrokowy? A może tego unikają?</a:t>
          </a:r>
        </a:p>
      </dsp:txBody>
      <dsp:txXfrm>
        <a:off x="1950719" y="2137"/>
        <a:ext cx="4145280" cy="594000"/>
      </dsp:txXfrm>
    </dsp:sp>
    <dsp:sp modelId="{33D9AD84-C2DD-43AA-B8C0-6E15771BE78B}">
      <dsp:nvSpPr>
        <dsp:cNvPr id="0" name=""/>
        <dsp:cNvSpPr/>
      </dsp:nvSpPr>
      <dsp:spPr>
        <a:xfrm>
          <a:off x="0" y="846752"/>
          <a:ext cx="1524000" cy="348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yraz twarzy</a:t>
          </a:r>
        </a:p>
      </dsp:txBody>
      <dsp:txXfrm>
        <a:off x="0" y="846752"/>
        <a:ext cx="1524000" cy="348975"/>
      </dsp:txXfrm>
    </dsp:sp>
    <dsp:sp modelId="{9117B35D-C06B-428F-8A45-50C11E8FFA23}">
      <dsp:nvSpPr>
        <dsp:cNvPr id="0" name=""/>
        <dsp:cNvSpPr/>
      </dsp:nvSpPr>
      <dsp:spPr>
        <a:xfrm>
          <a:off x="1523999" y="617737"/>
          <a:ext cx="304800" cy="807004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E5CFAF-7A5E-4128-8997-A5651A906319}">
      <dsp:nvSpPr>
        <dsp:cNvPr id="0" name=""/>
        <dsp:cNvSpPr/>
      </dsp:nvSpPr>
      <dsp:spPr>
        <a:xfrm>
          <a:off x="1950719" y="617737"/>
          <a:ext cx="4145280" cy="80700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twarz tej osoby wyraża ciepło i zainteresowanie? A może jest pusty lub wykazuje dyskomfort?</a:t>
          </a:r>
        </a:p>
      </dsp:txBody>
      <dsp:txXfrm>
        <a:off x="1950719" y="617737"/>
        <a:ext cx="4145280" cy="807004"/>
      </dsp:txXfrm>
    </dsp:sp>
    <dsp:sp modelId="{5400C3F5-CC03-4C92-9C64-BD6ED3005EC2}">
      <dsp:nvSpPr>
        <dsp:cNvPr id="0" name=""/>
        <dsp:cNvSpPr/>
      </dsp:nvSpPr>
      <dsp:spPr>
        <a:xfrm>
          <a:off x="0" y="1560850"/>
          <a:ext cx="1524000" cy="348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n głosu</a:t>
          </a:r>
        </a:p>
      </dsp:txBody>
      <dsp:txXfrm>
        <a:off x="0" y="1560850"/>
        <a:ext cx="1524000" cy="348975"/>
      </dsp:txXfrm>
    </dsp:sp>
    <dsp:sp modelId="{C3AF3EC1-996A-46C1-B710-476892751235}">
      <dsp:nvSpPr>
        <dsp:cNvPr id="0" name=""/>
        <dsp:cNvSpPr/>
      </dsp:nvSpPr>
      <dsp:spPr>
        <a:xfrm>
          <a:off x="1523999" y="1446342"/>
          <a:ext cx="304800" cy="577989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87B468-0784-4F3F-9515-BBB3492CC8A0}">
      <dsp:nvSpPr>
        <dsp:cNvPr id="0" name=""/>
        <dsp:cNvSpPr/>
      </dsp:nvSpPr>
      <dsp:spPr>
        <a:xfrm>
          <a:off x="1950719" y="1446342"/>
          <a:ext cx="4145280" cy="5779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głos danej osoby jest wygodny lub interesujący? A może jest napięty?</a:t>
          </a:r>
        </a:p>
      </dsp:txBody>
      <dsp:txXfrm>
        <a:off x="1950719" y="1446342"/>
        <a:ext cx="4145280" cy="577989"/>
      </dsp:txXfrm>
    </dsp:sp>
    <dsp:sp modelId="{85BD6EBC-B7BD-4283-9195-03758FD188DF}">
      <dsp:nvSpPr>
        <dsp:cNvPr id="0" name=""/>
        <dsp:cNvSpPr/>
      </dsp:nvSpPr>
      <dsp:spPr>
        <a:xfrm>
          <a:off x="0" y="2045932"/>
          <a:ext cx="1524000" cy="59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stawa i gest</a:t>
          </a:r>
        </a:p>
      </dsp:txBody>
      <dsp:txXfrm>
        <a:off x="0" y="2045932"/>
        <a:ext cx="1524000" cy="594000"/>
      </dsp:txXfrm>
    </dsp:sp>
    <dsp:sp modelId="{E0FC9C9B-F53E-4A4C-8BA2-1529EE697C2B}">
      <dsp:nvSpPr>
        <dsp:cNvPr id="0" name=""/>
        <dsp:cNvSpPr/>
      </dsp:nvSpPr>
      <dsp:spPr>
        <a:xfrm>
          <a:off x="1523999" y="2045932"/>
          <a:ext cx="304800" cy="59400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CD8488-674C-4C0C-9655-2C89CD3ACFBA}">
      <dsp:nvSpPr>
        <dsp:cNvPr id="0" name=""/>
        <dsp:cNvSpPr/>
      </dsp:nvSpPr>
      <dsp:spPr>
        <a:xfrm>
          <a:off x="1950719" y="2045932"/>
          <a:ext cx="4145280" cy="594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ciało tej osoby jest zrelaksowane? A może jest sztywny i nieruchomy?</a:t>
          </a:r>
        </a:p>
      </dsp:txBody>
      <dsp:txXfrm>
        <a:off x="1950719" y="2045932"/>
        <a:ext cx="4145280" cy="594000"/>
      </dsp:txXfrm>
    </dsp:sp>
    <dsp:sp modelId="{A3CD7AA6-38F4-4A44-AF0C-AA53CC2A4238}">
      <dsp:nvSpPr>
        <dsp:cNvPr id="0" name=""/>
        <dsp:cNvSpPr/>
      </dsp:nvSpPr>
      <dsp:spPr>
        <a:xfrm>
          <a:off x="0" y="2890547"/>
          <a:ext cx="1524000" cy="3489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zas i miejsce</a:t>
          </a:r>
        </a:p>
      </dsp:txBody>
      <dsp:txXfrm>
        <a:off x="0" y="2890547"/>
        <a:ext cx="1524000" cy="348975"/>
      </dsp:txXfrm>
    </dsp:sp>
    <dsp:sp modelId="{A0BBA243-A395-4F9E-9DD5-840A3D69F33B}">
      <dsp:nvSpPr>
        <dsp:cNvPr id="0" name=""/>
        <dsp:cNvSpPr/>
      </dsp:nvSpPr>
      <dsp:spPr>
        <a:xfrm>
          <a:off x="1523999" y="2661532"/>
          <a:ext cx="304800" cy="807004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AAEBA6-B695-4691-8B00-49D1E4CA4B7B}">
      <dsp:nvSpPr>
        <dsp:cNvPr id="0" name=""/>
        <dsp:cNvSpPr/>
      </dsp:nvSpPr>
      <dsp:spPr>
        <a:xfrm>
          <a:off x="1950719" y="2661532"/>
          <a:ext cx="4145280" cy="80700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istnieje łatwy przepływ informacji tam i z powrotem? Czy w dużej mierze jest to rozmowa jednokierunkowa?</a:t>
          </a:r>
        </a:p>
      </dsp:txBody>
      <dsp:txXfrm>
        <a:off x="1950719" y="2661532"/>
        <a:ext cx="4145280" cy="807004"/>
      </dsp:txXfrm>
    </dsp:sp>
    <dsp:sp modelId="{1165B149-41F8-4D08-BA1A-5857706E9CDE}">
      <dsp:nvSpPr>
        <dsp:cNvPr id="0" name=""/>
        <dsp:cNvSpPr/>
      </dsp:nvSpPr>
      <dsp:spPr>
        <a:xfrm>
          <a:off x="0" y="3694324"/>
          <a:ext cx="1524000" cy="1633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Zaangażowanie</a:t>
          </a:r>
        </a:p>
      </dsp:txBody>
      <dsp:txXfrm>
        <a:off x="0" y="3694324"/>
        <a:ext cx="1524000" cy="163349"/>
      </dsp:txXfrm>
    </dsp:sp>
    <dsp:sp modelId="{0A6E157B-C627-4B14-8B26-59B96448430A}">
      <dsp:nvSpPr>
        <dsp:cNvPr id="0" name=""/>
        <dsp:cNvSpPr/>
      </dsp:nvSpPr>
      <dsp:spPr>
        <a:xfrm>
          <a:off x="1523999" y="3490137"/>
          <a:ext cx="304800" cy="571724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46999F-8B22-4EFB-AAE0-C9D0AFC0A833}">
      <dsp:nvSpPr>
        <dsp:cNvPr id="0" name=""/>
        <dsp:cNvSpPr/>
      </dsp:nvSpPr>
      <dsp:spPr>
        <a:xfrm>
          <a:off x="1950719" y="3490137"/>
          <a:ext cx="4145280" cy="57172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zy ta osoba wydaje się lubić rozmowę? A może szukają wyjścia z interakcji?</a:t>
          </a:r>
        </a:p>
      </dsp:txBody>
      <dsp:txXfrm>
        <a:off x="1950719" y="3490137"/>
        <a:ext cx="4145280" cy="571724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3D0F38-1697-4DDF-87B5-31AB4FDDCA6E}">
      <dsp:nvSpPr>
        <dsp:cNvPr id="0" name=""/>
        <dsp:cNvSpPr/>
      </dsp:nvSpPr>
      <dsp:spPr>
        <a:xfrm>
          <a:off x="356995" y="565"/>
          <a:ext cx="1084060" cy="1084060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2CB9A9-E8F4-48A6-863C-3857BF4A1898}">
      <dsp:nvSpPr>
        <dsp:cNvPr id="0" name=""/>
        <dsp:cNvSpPr/>
      </dsp:nvSpPr>
      <dsp:spPr>
        <a:xfrm>
          <a:off x="588024" y="231594"/>
          <a:ext cx="622001" cy="62200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A18965-2D4D-4724-835A-2A765ACE07BF}">
      <dsp:nvSpPr>
        <dsp:cNvPr id="0" name=""/>
        <dsp:cNvSpPr/>
      </dsp:nvSpPr>
      <dsp:spPr>
        <a:xfrm>
          <a:off x="10451" y="1422284"/>
          <a:ext cx="1777148" cy="9232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pl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Zakłócenia, konfrontacja, wsparcie – ale tylko odpowiednie dla iF!</a:t>
          </a:r>
          <a:endParaRPr lang="en-US" kern="1200"/>
        </a:p>
      </dsp:txBody>
      <dsp:txXfrm>
        <a:off x="10451" y="1422284"/>
        <a:ext cx="1777148" cy="923284"/>
      </dsp:txXfrm>
    </dsp:sp>
    <dsp:sp modelId="{71CADC7A-C1B0-44C3-93BB-21CE4C51B4F2}">
      <dsp:nvSpPr>
        <dsp:cNvPr id="0" name=""/>
        <dsp:cNvSpPr/>
      </dsp:nvSpPr>
      <dsp:spPr>
        <a:xfrm>
          <a:off x="2445144" y="565"/>
          <a:ext cx="1084060" cy="1084060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7A4B8A-9FB1-49BB-AD5F-E16F4D6B1202}">
      <dsp:nvSpPr>
        <dsp:cNvPr id="0" name=""/>
        <dsp:cNvSpPr/>
      </dsp:nvSpPr>
      <dsp:spPr>
        <a:xfrm>
          <a:off x="2676173" y="231594"/>
          <a:ext cx="622001" cy="62200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F8B6D1-5618-4F35-9FB1-447D4C8D3EB4}">
      <dsp:nvSpPr>
        <dsp:cNvPr id="0" name=""/>
        <dsp:cNvSpPr/>
      </dsp:nvSpPr>
      <dsp:spPr>
        <a:xfrm>
          <a:off x="2098600" y="1422284"/>
          <a:ext cx="1777148" cy="9232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pl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hcemy wiedzieć, czy uważasz, że czyjeś zachowanie jest niewłaściwe czy niezgodne z prawem. </a:t>
          </a:r>
          <a:endParaRPr lang="en-US" kern="1200"/>
        </a:p>
      </dsp:txBody>
      <dsp:txXfrm>
        <a:off x="2098600" y="1422284"/>
        <a:ext cx="1777148" cy="923284"/>
      </dsp:txXfrm>
    </dsp:sp>
    <dsp:sp modelId="{1FE7E204-545F-440C-8C97-4A51872D9726}">
      <dsp:nvSpPr>
        <dsp:cNvPr id="0" name=""/>
        <dsp:cNvSpPr/>
      </dsp:nvSpPr>
      <dsp:spPr>
        <a:xfrm>
          <a:off x="356995" y="2789855"/>
          <a:ext cx="1084060" cy="1084060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FF4209-844A-4978-977D-D9B2596F75E9}">
      <dsp:nvSpPr>
        <dsp:cNvPr id="0" name=""/>
        <dsp:cNvSpPr/>
      </dsp:nvSpPr>
      <dsp:spPr>
        <a:xfrm>
          <a:off x="588024" y="3020884"/>
          <a:ext cx="622001" cy="62200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BC5A38-EAF4-4B1E-9660-0ECB3613D90C}">
      <dsp:nvSpPr>
        <dsp:cNvPr id="0" name=""/>
        <dsp:cNvSpPr/>
      </dsp:nvSpPr>
      <dsp:spPr>
        <a:xfrm>
          <a:off x="10451" y="4211574"/>
          <a:ext cx="1777148" cy="9232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pl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szystkie skargi będą traktowane poważnie, badane i rozpatrywane w stosownych przypadkach. </a:t>
          </a:r>
          <a:endParaRPr lang="en-US" kern="1200"/>
        </a:p>
      </dsp:txBody>
      <dsp:txXfrm>
        <a:off x="10451" y="4211574"/>
        <a:ext cx="1777148" cy="923284"/>
      </dsp:txXfrm>
    </dsp:sp>
    <dsp:sp modelId="{10143779-9C38-42BF-84D1-1850484485B4}">
      <dsp:nvSpPr>
        <dsp:cNvPr id="0" name=""/>
        <dsp:cNvSpPr/>
      </dsp:nvSpPr>
      <dsp:spPr>
        <a:xfrm>
          <a:off x="2445144" y="2789855"/>
          <a:ext cx="1084060" cy="1084060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7D5008-931D-4678-B3D6-809AC5E131FA}">
      <dsp:nvSpPr>
        <dsp:cNvPr id="0" name=""/>
        <dsp:cNvSpPr/>
      </dsp:nvSpPr>
      <dsp:spPr>
        <a:xfrm>
          <a:off x="2676173" y="3020884"/>
          <a:ext cx="622001" cy="622001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B0CDB9-D0AE-470D-ABFC-DED3FE7A9B30}">
      <dsp:nvSpPr>
        <dsp:cNvPr id="0" name=""/>
        <dsp:cNvSpPr/>
      </dsp:nvSpPr>
      <dsp:spPr>
        <a:xfrm>
          <a:off x="2098600" y="4211574"/>
          <a:ext cx="1777148" cy="9232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pl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kontaktuj się ze swoim przełożonym, lokalnym działem ds. zgodności z przepisami w zakresie prędkości obrotowej lub zadzwoń na infolinię</a:t>
          </a:r>
          <a:endParaRPr lang="en-US" kern="1200"/>
        </a:p>
      </dsp:txBody>
      <dsp:txXfrm>
        <a:off x="2098600" y="4211574"/>
        <a:ext cx="1777148" cy="923284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A512D9-B40D-47F9-A846-C726F51B1EC6}">
      <dsp:nvSpPr>
        <dsp:cNvPr id="0" name=""/>
        <dsp:cNvSpPr/>
      </dsp:nvSpPr>
      <dsp:spPr>
        <a:xfrm>
          <a:off x="0" y="80550"/>
          <a:ext cx="8074836" cy="3711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508474-D63E-4A16-9167-594C791466C4}">
      <dsp:nvSpPr>
        <dsp:cNvPr id="0" name=""/>
        <dsp:cNvSpPr/>
      </dsp:nvSpPr>
      <dsp:spPr>
        <a:xfrm>
          <a:off x="112284" y="164067"/>
          <a:ext cx="204352" cy="20415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AD54F1-4A2A-422E-A86B-590182CAB8AA}">
      <dsp:nvSpPr>
        <dsp:cNvPr id="0" name=""/>
        <dsp:cNvSpPr/>
      </dsp:nvSpPr>
      <dsp:spPr>
        <a:xfrm>
          <a:off x="428921" y="80550"/>
          <a:ext cx="7581834" cy="487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560" tIns="51560" rIns="51560" bIns="5156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Zwolnienie</a:t>
          </a:r>
          <a:endParaRPr lang="en-US" kern="1200"/>
        </a:p>
      </dsp:txBody>
      <dsp:txXfrm>
        <a:off x="428921" y="80550"/>
        <a:ext cx="7581834" cy="487184"/>
      </dsp:txXfrm>
    </dsp:sp>
    <dsp:sp modelId="{02EE004D-26FC-47D1-8269-69D20901CA23}">
      <dsp:nvSpPr>
        <dsp:cNvPr id="0" name=""/>
        <dsp:cNvSpPr/>
      </dsp:nvSpPr>
      <dsp:spPr>
        <a:xfrm>
          <a:off x="0" y="689530"/>
          <a:ext cx="8074836" cy="3711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412361-0DD8-455E-ABDC-E515BF65EB9D}">
      <dsp:nvSpPr>
        <dsp:cNvPr id="0" name=""/>
        <dsp:cNvSpPr/>
      </dsp:nvSpPr>
      <dsp:spPr>
        <a:xfrm>
          <a:off x="112284" y="773048"/>
          <a:ext cx="204352" cy="20415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7B8EB0-C577-4054-84C1-818EA38BF5B9}">
      <dsp:nvSpPr>
        <dsp:cNvPr id="0" name=""/>
        <dsp:cNvSpPr/>
      </dsp:nvSpPr>
      <dsp:spPr>
        <a:xfrm>
          <a:off x="428921" y="689530"/>
          <a:ext cx="7581834" cy="487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560" tIns="51560" rIns="51560" bIns="5156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Degradacja</a:t>
          </a:r>
          <a:endParaRPr lang="en-US" kern="1200"/>
        </a:p>
      </dsp:txBody>
      <dsp:txXfrm>
        <a:off x="428921" y="689530"/>
        <a:ext cx="7581834" cy="487184"/>
      </dsp:txXfrm>
    </dsp:sp>
    <dsp:sp modelId="{3951A61D-F069-4616-989D-20A828000FE1}">
      <dsp:nvSpPr>
        <dsp:cNvPr id="0" name=""/>
        <dsp:cNvSpPr/>
      </dsp:nvSpPr>
      <dsp:spPr>
        <a:xfrm>
          <a:off x="0" y="1298510"/>
          <a:ext cx="8074836" cy="3711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C44930-8854-438D-90B1-22C51B82B008}">
      <dsp:nvSpPr>
        <dsp:cNvPr id="0" name=""/>
        <dsp:cNvSpPr/>
      </dsp:nvSpPr>
      <dsp:spPr>
        <a:xfrm>
          <a:off x="112284" y="1382028"/>
          <a:ext cx="204352" cy="20415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5091B8-29C0-4ABE-8DEC-334A61052E0C}">
      <dsp:nvSpPr>
        <dsp:cNvPr id="0" name=""/>
        <dsp:cNvSpPr/>
      </dsp:nvSpPr>
      <dsp:spPr>
        <a:xfrm>
          <a:off x="428921" y="1298510"/>
          <a:ext cx="7581834" cy="487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560" tIns="51560" rIns="51560" bIns="5156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nsfer</a:t>
          </a:r>
          <a:endParaRPr lang="en-US" kern="1200"/>
        </a:p>
      </dsp:txBody>
      <dsp:txXfrm>
        <a:off x="428921" y="1298510"/>
        <a:ext cx="7581834" cy="487184"/>
      </dsp:txXfrm>
    </dsp:sp>
    <dsp:sp modelId="{2B9FBFC2-2DA2-4537-8E9D-0102188BB8DA}">
      <dsp:nvSpPr>
        <dsp:cNvPr id="0" name=""/>
        <dsp:cNvSpPr/>
      </dsp:nvSpPr>
      <dsp:spPr>
        <a:xfrm>
          <a:off x="0" y="1907491"/>
          <a:ext cx="8074836" cy="3711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8824A6-FCA5-4A1B-9C93-02EBF6CE40C2}">
      <dsp:nvSpPr>
        <dsp:cNvPr id="0" name=""/>
        <dsp:cNvSpPr/>
      </dsp:nvSpPr>
      <dsp:spPr>
        <a:xfrm>
          <a:off x="112284" y="1991008"/>
          <a:ext cx="204352" cy="20415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B89971-F98F-4B5E-A3E6-D8B427874E72}">
      <dsp:nvSpPr>
        <dsp:cNvPr id="0" name=""/>
        <dsp:cNvSpPr/>
      </dsp:nvSpPr>
      <dsp:spPr>
        <a:xfrm>
          <a:off x="428921" y="1907491"/>
          <a:ext cx="7581834" cy="487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560" tIns="51560" rIns="51560" bIns="5156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Mniej korzystne zadania lub harmonogram pracy</a:t>
          </a:r>
          <a:endParaRPr lang="en-US" kern="1200"/>
        </a:p>
      </dsp:txBody>
      <dsp:txXfrm>
        <a:off x="428921" y="1907491"/>
        <a:ext cx="7581834" cy="487184"/>
      </dsp:txXfrm>
    </dsp:sp>
    <dsp:sp modelId="{5A0D2530-66A5-456F-BF2D-18FEAD527C88}">
      <dsp:nvSpPr>
        <dsp:cNvPr id="0" name=""/>
        <dsp:cNvSpPr/>
      </dsp:nvSpPr>
      <dsp:spPr>
        <a:xfrm>
          <a:off x="0" y="2516471"/>
          <a:ext cx="8074836" cy="56234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14D602-97C4-4F4E-85C6-8EC0B97D38A5}">
      <dsp:nvSpPr>
        <dsp:cNvPr id="0" name=""/>
        <dsp:cNvSpPr/>
      </dsp:nvSpPr>
      <dsp:spPr>
        <a:xfrm>
          <a:off x="112284" y="2695569"/>
          <a:ext cx="204352" cy="204153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E7E8D9-EBEA-4B3C-B1F3-7D20DA711A7B}">
      <dsp:nvSpPr>
        <dsp:cNvPr id="0" name=""/>
        <dsp:cNvSpPr/>
      </dsp:nvSpPr>
      <dsp:spPr>
        <a:xfrm>
          <a:off x="428921" y="2612052"/>
          <a:ext cx="7581834" cy="487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560" tIns="51560" rIns="51560" bIns="5156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yciek akt osobowych w celu dyskredytowania lub dyskredytowania ofiary lub świadka dyskryminacji</a:t>
          </a:r>
          <a:endParaRPr lang="en-US" kern="1200"/>
        </a:p>
      </dsp:txBody>
      <dsp:txXfrm>
        <a:off x="428921" y="2612052"/>
        <a:ext cx="7581834" cy="487184"/>
      </dsp:txXfrm>
    </dsp:sp>
    <dsp:sp modelId="{82650058-36C7-4EF2-A510-6B2A3BC56CBA}">
      <dsp:nvSpPr>
        <dsp:cNvPr id="0" name=""/>
        <dsp:cNvSpPr/>
      </dsp:nvSpPr>
      <dsp:spPr>
        <a:xfrm>
          <a:off x="0" y="3221032"/>
          <a:ext cx="8074836" cy="3711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2EC3DD-4747-4D08-8080-FEFD01566235}">
      <dsp:nvSpPr>
        <dsp:cNvPr id="0" name=""/>
        <dsp:cNvSpPr/>
      </dsp:nvSpPr>
      <dsp:spPr>
        <a:xfrm>
          <a:off x="112284" y="3304549"/>
          <a:ext cx="204352" cy="204153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5AEC99-75BD-4251-A255-724AD0F0A785}">
      <dsp:nvSpPr>
        <dsp:cNvPr id="0" name=""/>
        <dsp:cNvSpPr/>
      </dsp:nvSpPr>
      <dsp:spPr>
        <a:xfrm>
          <a:off x="428921" y="3221032"/>
          <a:ext cx="7581834" cy="487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560" tIns="51560" rIns="51560" bIns="5156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Bycie strzeżonym lub ostraconym przez współpracowników</a:t>
          </a:r>
          <a:endParaRPr lang="en-US" kern="1200"/>
        </a:p>
      </dsp:txBody>
      <dsp:txXfrm>
        <a:off x="428921" y="3221032"/>
        <a:ext cx="7581834" cy="487184"/>
      </dsp:txXfrm>
    </dsp:sp>
    <dsp:sp modelId="{BE66F222-4B7E-4DCF-98CD-4A27921714C6}">
      <dsp:nvSpPr>
        <dsp:cNvPr id="0" name=""/>
        <dsp:cNvSpPr/>
      </dsp:nvSpPr>
      <dsp:spPr>
        <a:xfrm>
          <a:off x="0" y="3830012"/>
          <a:ext cx="8074836" cy="37118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DFA904-3FD3-466E-BD6D-472D480E10CF}">
      <dsp:nvSpPr>
        <dsp:cNvPr id="0" name=""/>
        <dsp:cNvSpPr/>
      </dsp:nvSpPr>
      <dsp:spPr>
        <a:xfrm>
          <a:off x="112284" y="3913529"/>
          <a:ext cx="204352" cy="204153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759015-1B81-45A3-B24B-BC9FC83003A9}">
      <dsp:nvSpPr>
        <dsp:cNvPr id="0" name=""/>
        <dsp:cNvSpPr/>
      </dsp:nvSpPr>
      <dsp:spPr>
        <a:xfrm>
          <a:off x="428921" y="3830012"/>
          <a:ext cx="7581834" cy="487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560" tIns="51560" rIns="51560" bIns="5156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abotaż ze strony współpracowników</a:t>
          </a:r>
          <a:endParaRPr lang="en-US" kern="1200"/>
        </a:p>
      </dsp:txBody>
      <dsp:txXfrm>
        <a:off x="428921" y="3830012"/>
        <a:ext cx="7581834" cy="4871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7136BE-66B6-43CA-ABD3-5EC058011C77}">
      <dsp:nvSpPr>
        <dsp:cNvPr id="0" name=""/>
        <dsp:cNvSpPr/>
      </dsp:nvSpPr>
      <dsp:spPr>
        <a:xfrm>
          <a:off x="2523" y="55514"/>
          <a:ext cx="2460301" cy="9841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olestowanie w miejscu pracy</a:t>
          </a:r>
          <a:endParaRPr lang="en-GB" kern="1200"/>
        </a:p>
      </dsp:txBody>
      <dsp:txXfrm>
        <a:off x="2523" y="55514"/>
        <a:ext cx="2460301" cy="984120"/>
      </dsp:txXfrm>
    </dsp:sp>
    <dsp:sp modelId="{5A01AD50-A4BE-433F-882C-7262AEE7DECE}">
      <dsp:nvSpPr>
        <dsp:cNvPr id="0" name=""/>
        <dsp:cNvSpPr/>
      </dsp:nvSpPr>
      <dsp:spPr>
        <a:xfrm>
          <a:off x="2523" y="1039634"/>
          <a:ext cx="2460301" cy="374692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pl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Niepożądane lub obraźliwe zachowanie oparte na </a:t>
          </a:r>
          <a:r>
            <a:rPr lang="pl" sz="2100" b="0" i="1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jakiejkolwiek </a:t>
          </a:r>
          <a:r>
            <a:rPr lang="pl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hronionej podstawie.</a:t>
          </a:r>
        </a:p>
      </dsp:txBody>
      <dsp:txXfrm>
        <a:off x="2523" y="1039634"/>
        <a:ext cx="2460301" cy="3746924"/>
      </dsp:txXfrm>
    </dsp:sp>
    <dsp:sp modelId="{88EAAD68-E779-4ABE-A5DA-0983BBEBC27F}">
      <dsp:nvSpPr>
        <dsp:cNvPr id="0" name=""/>
        <dsp:cNvSpPr/>
      </dsp:nvSpPr>
      <dsp:spPr>
        <a:xfrm>
          <a:off x="2807267" y="55514"/>
          <a:ext cx="2460301" cy="9841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ziemienie chronione</a:t>
          </a:r>
          <a:endParaRPr lang="en-GB" kern="1200"/>
        </a:p>
      </dsp:txBody>
      <dsp:txXfrm>
        <a:off x="2807267" y="55514"/>
        <a:ext cx="2460301" cy="984120"/>
      </dsp:txXfrm>
    </dsp:sp>
    <dsp:sp modelId="{E09FF709-B9A1-467B-BBF8-2127A63B2EF3}">
      <dsp:nvSpPr>
        <dsp:cNvPr id="0" name=""/>
        <dsp:cNvSpPr/>
      </dsp:nvSpPr>
      <dsp:spPr>
        <a:xfrm>
          <a:off x="2807267" y="1039634"/>
          <a:ext cx="2460301" cy="374692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pl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echy osobiste, które nie mogą wpływać na decyzje związane z zatrudnieniem lub zatrudnieniem. 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Ludzie mogą mieć więcej niż jedną chronioną podstawę</a:t>
          </a:r>
        </a:p>
      </dsp:txBody>
      <dsp:txXfrm>
        <a:off x="2807267" y="1039634"/>
        <a:ext cx="2460301" cy="3746924"/>
      </dsp:txXfrm>
    </dsp:sp>
    <dsp:sp modelId="{F96EBAB5-2385-44A0-9DAE-378482389753}">
      <dsp:nvSpPr>
        <dsp:cNvPr id="0" name=""/>
        <dsp:cNvSpPr/>
      </dsp:nvSpPr>
      <dsp:spPr>
        <a:xfrm>
          <a:off x="5612011" y="55514"/>
          <a:ext cx="2460301" cy="98412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Zachowanie w przekroju</a:t>
          </a:r>
          <a:endParaRPr lang="en-GB" kern="1200"/>
        </a:p>
      </dsp:txBody>
      <dsp:txXfrm>
        <a:off x="5612011" y="55514"/>
        <a:ext cx="2460301" cy="984120"/>
      </dsp:txXfrm>
    </dsp:sp>
    <dsp:sp modelId="{205221B7-809E-408A-8761-924C5606E944}">
      <dsp:nvSpPr>
        <dsp:cNvPr id="0" name=""/>
        <dsp:cNvSpPr/>
      </dsp:nvSpPr>
      <dsp:spPr>
        <a:xfrm>
          <a:off x="5612011" y="1039634"/>
          <a:ext cx="2460301" cy="3746924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pl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Niewłaściwe postępowanie ukierunkowane na więcej niż jedną chronioną powierzchnię.</a:t>
          </a:r>
        </a:p>
        <a:p>
          <a:pPr marL="285750" lvl="1" indent="-285750" algn="l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None/>
          </a:pPr>
          <a:endParaRPr lang="en-GB" sz="3600" kern="1200"/>
        </a:p>
      </dsp:txBody>
      <dsp:txXfrm>
        <a:off x="5612011" y="1039634"/>
        <a:ext cx="2460301" cy="374692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56F062-E831-4C9D-8295-EBD859E85986}">
      <dsp:nvSpPr>
        <dsp:cNvPr id="0" name=""/>
        <dsp:cNvSpPr/>
      </dsp:nvSpPr>
      <dsp:spPr>
        <a:xfrm>
          <a:off x="2390" y="104515"/>
          <a:ext cx="1896268" cy="1137760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iek (40 lat i więcej)</a:t>
          </a:r>
          <a:endParaRPr lang="en-US" kern="1200"/>
        </a:p>
      </dsp:txBody>
      <dsp:txXfrm>
        <a:off x="2390" y="104515"/>
        <a:ext cx="1896268" cy="1137760"/>
      </dsp:txXfrm>
    </dsp:sp>
    <dsp:sp modelId="{314BF5E9-6D32-4139-B1EF-52F90BD3589D}">
      <dsp:nvSpPr>
        <dsp:cNvPr id="0" name=""/>
        <dsp:cNvSpPr/>
      </dsp:nvSpPr>
      <dsp:spPr>
        <a:xfrm>
          <a:off x="2088285" y="104515"/>
          <a:ext cx="1896268" cy="1137760"/>
        </a:xfrm>
        <a:prstGeom prst="rect">
          <a:avLst/>
        </a:prstGeom>
        <a:solidFill>
          <a:schemeClr val="accent1">
            <a:shade val="80000"/>
            <a:hueOff val="24660"/>
            <a:satOff val="470"/>
            <a:lumOff val="2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asa/kolor</a:t>
          </a:r>
          <a:endParaRPr lang="en-US" kern="1200"/>
        </a:p>
      </dsp:txBody>
      <dsp:txXfrm>
        <a:off x="2088285" y="104515"/>
        <a:ext cx="1896268" cy="1137760"/>
      </dsp:txXfrm>
    </dsp:sp>
    <dsp:sp modelId="{65B48DC4-277D-4510-87DB-C69F1B7D6DD3}">
      <dsp:nvSpPr>
        <dsp:cNvPr id="0" name=""/>
        <dsp:cNvSpPr/>
      </dsp:nvSpPr>
      <dsp:spPr>
        <a:xfrm>
          <a:off x="4174180" y="104515"/>
          <a:ext cx="1896268" cy="1137760"/>
        </a:xfrm>
        <a:prstGeom prst="rect">
          <a:avLst/>
        </a:prstGeom>
        <a:solidFill>
          <a:schemeClr val="accent1">
            <a:shade val="80000"/>
            <a:hueOff val="49321"/>
            <a:satOff val="941"/>
            <a:lumOff val="4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chodzenie narodowe / obywatelstwo</a:t>
          </a:r>
          <a:endParaRPr lang="en-US" kern="1200"/>
        </a:p>
      </dsp:txBody>
      <dsp:txXfrm>
        <a:off x="4174180" y="104515"/>
        <a:ext cx="1896268" cy="1137760"/>
      </dsp:txXfrm>
    </dsp:sp>
    <dsp:sp modelId="{C28451D7-32EE-4871-A93E-B1ABC49EF3AC}">
      <dsp:nvSpPr>
        <dsp:cNvPr id="0" name=""/>
        <dsp:cNvSpPr/>
      </dsp:nvSpPr>
      <dsp:spPr>
        <a:xfrm>
          <a:off x="6260075" y="104515"/>
          <a:ext cx="1896268" cy="1137760"/>
        </a:xfrm>
        <a:prstGeom prst="rect">
          <a:avLst/>
        </a:prstGeom>
        <a:solidFill>
          <a:schemeClr val="accent1">
            <a:shade val="80000"/>
            <a:hueOff val="73981"/>
            <a:satOff val="1411"/>
            <a:lumOff val="62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nformacje genetyczne</a:t>
          </a:r>
          <a:endParaRPr lang="en-US" kern="1200"/>
        </a:p>
      </dsp:txBody>
      <dsp:txXfrm>
        <a:off x="6260075" y="104515"/>
        <a:ext cx="1896268" cy="1137760"/>
      </dsp:txXfrm>
    </dsp:sp>
    <dsp:sp modelId="{B97059E4-569B-439D-ACCE-C703E8EBB9E0}">
      <dsp:nvSpPr>
        <dsp:cNvPr id="0" name=""/>
        <dsp:cNvSpPr/>
      </dsp:nvSpPr>
      <dsp:spPr>
        <a:xfrm>
          <a:off x="2390" y="1431903"/>
          <a:ext cx="1896268" cy="1137760"/>
        </a:xfrm>
        <a:prstGeom prst="rect">
          <a:avLst/>
        </a:prstGeom>
        <a:solidFill>
          <a:schemeClr val="accent1">
            <a:shade val="80000"/>
            <a:hueOff val="98641"/>
            <a:satOff val="1882"/>
            <a:lumOff val="83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Język</a:t>
          </a:r>
          <a:endParaRPr lang="en-US" kern="1200"/>
        </a:p>
      </dsp:txBody>
      <dsp:txXfrm>
        <a:off x="2390" y="1431903"/>
        <a:ext cx="1896268" cy="1137760"/>
      </dsp:txXfrm>
    </dsp:sp>
    <dsp:sp modelId="{1C95E413-6173-413A-912F-7DA1BB34D98F}">
      <dsp:nvSpPr>
        <dsp:cNvPr id="0" name=""/>
        <dsp:cNvSpPr/>
      </dsp:nvSpPr>
      <dsp:spPr>
        <a:xfrm>
          <a:off x="2088285" y="1431903"/>
          <a:ext cx="1896268" cy="1137760"/>
        </a:xfrm>
        <a:prstGeom prst="rect">
          <a:avLst/>
        </a:prstGeom>
        <a:solidFill>
          <a:schemeClr val="accent1">
            <a:shade val="80000"/>
            <a:hueOff val="123302"/>
            <a:satOff val="2352"/>
            <a:lumOff val="103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eligia lub przekonania</a:t>
          </a:r>
          <a:endParaRPr lang="en-US" kern="1200"/>
        </a:p>
      </dsp:txBody>
      <dsp:txXfrm>
        <a:off x="2088285" y="1431903"/>
        <a:ext cx="1896268" cy="1137760"/>
      </dsp:txXfrm>
    </dsp:sp>
    <dsp:sp modelId="{A26D54B5-B4E7-40E8-9B74-824A0E4BCFBB}">
      <dsp:nvSpPr>
        <dsp:cNvPr id="0" name=""/>
        <dsp:cNvSpPr/>
      </dsp:nvSpPr>
      <dsp:spPr>
        <a:xfrm>
          <a:off x="4174180" y="1431903"/>
          <a:ext cx="1896268" cy="1137760"/>
        </a:xfrm>
        <a:prstGeom prst="rect">
          <a:avLst/>
        </a:prstGeom>
        <a:solidFill>
          <a:schemeClr val="accent1">
            <a:shade val="80000"/>
            <a:hueOff val="147962"/>
            <a:satOff val="2823"/>
            <a:lumOff val="124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mysły polityczne lub dotyczące związków zawodowych</a:t>
          </a:r>
          <a:endParaRPr lang="en-US" kern="1200"/>
        </a:p>
      </dsp:txBody>
      <dsp:txXfrm>
        <a:off x="4174180" y="1431903"/>
        <a:ext cx="1896268" cy="1137760"/>
      </dsp:txXfrm>
    </dsp:sp>
    <dsp:sp modelId="{00672C99-BC32-447E-BE26-36407AA2BDB2}">
      <dsp:nvSpPr>
        <dsp:cNvPr id="0" name=""/>
        <dsp:cNvSpPr/>
      </dsp:nvSpPr>
      <dsp:spPr>
        <a:xfrm>
          <a:off x="6260075" y="1431903"/>
          <a:ext cx="1896268" cy="1137760"/>
        </a:xfrm>
        <a:prstGeom prst="rect">
          <a:avLst/>
        </a:prstGeom>
        <a:solidFill>
          <a:schemeClr val="accent1">
            <a:shade val="80000"/>
            <a:hueOff val="172622"/>
            <a:satOff val="3293"/>
            <a:lumOff val="1454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tatus weterana</a:t>
          </a:r>
          <a:endParaRPr lang="en-US" kern="1200"/>
        </a:p>
      </dsp:txBody>
      <dsp:txXfrm>
        <a:off x="6260075" y="1431903"/>
        <a:ext cx="1896268" cy="1137760"/>
      </dsp:txXfrm>
    </dsp:sp>
    <dsp:sp modelId="{4CCD97D0-30AC-4C6D-BD06-F8D29050925E}">
      <dsp:nvSpPr>
        <dsp:cNvPr id="0" name=""/>
        <dsp:cNvSpPr/>
      </dsp:nvSpPr>
      <dsp:spPr>
        <a:xfrm>
          <a:off x="2390" y="2759291"/>
          <a:ext cx="1896268" cy="1137760"/>
        </a:xfrm>
        <a:prstGeom prst="rect">
          <a:avLst/>
        </a:prstGeom>
        <a:solidFill>
          <a:schemeClr val="accent1">
            <a:shade val="80000"/>
            <a:hueOff val="197282"/>
            <a:satOff val="3764"/>
            <a:lumOff val="166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łeć (obejmuje ciążę/poród dziecka)</a:t>
          </a:r>
        </a:p>
      </dsp:txBody>
      <dsp:txXfrm>
        <a:off x="2390" y="2759291"/>
        <a:ext cx="1896268" cy="1137760"/>
      </dsp:txXfrm>
    </dsp:sp>
    <dsp:sp modelId="{483AB9CE-7E99-4641-8A28-E74959ABA064}">
      <dsp:nvSpPr>
        <dsp:cNvPr id="0" name=""/>
        <dsp:cNvSpPr/>
      </dsp:nvSpPr>
      <dsp:spPr>
        <a:xfrm>
          <a:off x="2088285" y="2759291"/>
          <a:ext cx="1896268" cy="1137760"/>
        </a:xfrm>
        <a:prstGeom prst="rect">
          <a:avLst/>
        </a:prstGeom>
        <a:solidFill>
          <a:schemeClr val="accent1">
            <a:shade val="80000"/>
            <a:hueOff val="221943"/>
            <a:satOff val="4234"/>
            <a:lumOff val="187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ożsamość płciowa</a:t>
          </a:r>
          <a:endParaRPr lang="en-US" kern="1200"/>
        </a:p>
      </dsp:txBody>
      <dsp:txXfrm>
        <a:off x="2088285" y="2759291"/>
        <a:ext cx="1896268" cy="1137760"/>
      </dsp:txXfrm>
    </dsp:sp>
    <dsp:sp modelId="{EAD55615-8E89-44DC-83A8-7C3F87D1D88C}">
      <dsp:nvSpPr>
        <dsp:cNvPr id="0" name=""/>
        <dsp:cNvSpPr/>
      </dsp:nvSpPr>
      <dsp:spPr>
        <a:xfrm>
          <a:off x="4174180" y="2759291"/>
          <a:ext cx="1896268" cy="1137760"/>
        </a:xfrm>
        <a:prstGeom prst="rect">
          <a:avLst/>
        </a:prstGeom>
        <a:solidFill>
          <a:schemeClr val="accent1">
            <a:shade val="80000"/>
            <a:hueOff val="246603"/>
            <a:satOff val="4705"/>
            <a:lumOff val="207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Niepełnosprawność fizyczna lub umysłowa </a:t>
          </a:r>
          <a:endParaRPr lang="en-US" kern="1200"/>
        </a:p>
      </dsp:txBody>
      <dsp:txXfrm>
        <a:off x="4174180" y="2759291"/>
        <a:ext cx="1896268" cy="1137760"/>
      </dsp:txXfrm>
    </dsp:sp>
    <dsp:sp modelId="{498343EC-04AC-4CAD-8B5E-ABC16ACC2F20}">
      <dsp:nvSpPr>
        <dsp:cNvPr id="0" name=""/>
        <dsp:cNvSpPr/>
      </dsp:nvSpPr>
      <dsp:spPr>
        <a:xfrm>
          <a:off x="6260075" y="2759291"/>
          <a:ext cx="1896268" cy="1137760"/>
        </a:xfrm>
        <a:prstGeom prst="rect">
          <a:avLst/>
        </a:prstGeom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entacja seksualna</a:t>
          </a:r>
          <a:endParaRPr lang="en-US" kern="1200"/>
        </a:p>
      </dsp:txBody>
      <dsp:txXfrm>
        <a:off x="6260075" y="2759291"/>
        <a:ext cx="1896268" cy="11377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82F32-5C4B-42CE-AEF9-AB56A3FF7419}">
      <dsp:nvSpPr>
        <dsp:cNvPr id="0" name=""/>
        <dsp:cNvSpPr/>
      </dsp:nvSpPr>
      <dsp:spPr>
        <a:xfrm>
          <a:off x="2980" y="788"/>
          <a:ext cx="8068874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8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Molestowanie seksualne </a:t>
          </a:r>
          <a:r>
            <a:rPr lang="pl" sz="28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o niepożądane werbalne, niewerbalne lub fizyczne zachowanie o charakterze seksualnym, które narusza godność osoby.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8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Istnieją dwa różne rodzaje molestowania seksualnego:</a:t>
          </a:r>
          <a:endParaRPr lang="en-US" kern="1200"/>
        </a:p>
      </dsp:txBody>
      <dsp:txXfrm>
        <a:off x="70704" y="68512"/>
        <a:ext cx="7933426" cy="2176831"/>
      </dsp:txXfrm>
    </dsp:sp>
    <dsp:sp modelId="{2BBD0B2E-4BE4-48AC-A125-1761F93E54D0}">
      <dsp:nvSpPr>
        <dsp:cNvPr id="0" name=""/>
        <dsp:cNvSpPr/>
      </dsp:nvSpPr>
      <dsp:spPr>
        <a:xfrm>
          <a:off x="2980" y="2529006"/>
          <a:ext cx="3871820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4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Quid Pro Quo</a:t>
          </a:r>
          <a:endParaRPr lang="en-GB" kern="1200">
            <a:solidFill>
              <a:srgbClr val="FF0000"/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Quid Pro Quo to łacińskie słowo oznaczające „coś za coś” i oznacza oparte na decyzjach zawodowych o tym, czy ktoś akceptuje lub odrzuca niepożądane zachowania seksualne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Może to obejmować zachowania seksualne, intymne lub uczuciowe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Zawsze dotyczy to kierowników lub innych osób na stanowiskach władzy. </a:t>
          </a:r>
          <a:endParaRPr lang="en-US" kern="1200"/>
        </a:p>
      </dsp:txBody>
      <dsp:txXfrm>
        <a:off x="70704" y="2596730"/>
        <a:ext cx="3736372" cy="2176831"/>
      </dsp:txXfrm>
    </dsp:sp>
    <dsp:sp modelId="{88F1ABA4-3573-4291-80C5-CCCD060891F4}">
      <dsp:nvSpPr>
        <dsp:cNvPr id="0" name=""/>
        <dsp:cNvSpPr/>
      </dsp:nvSpPr>
      <dsp:spPr>
        <a:xfrm>
          <a:off x="4200034" y="2529006"/>
          <a:ext cx="3871820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4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Wrogie środowisko pracy</a:t>
          </a:r>
          <a:r>
            <a:rPr lang="pl" sz="1400" b="0" i="0" strike="noStrike" kern="1200" cap="none" spc="0" baseline="0">
              <a:solidFill>
                <a:srgbClr val="FF0000"/>
              </a:solidFill>
              <a:effectLst/>
              <a:latin typeface="Calibri"/>
              <a:ea typeface="Calibri"/>
              <a:cs typeface="Calibri"/>
            </a:rPr>
            <a:t>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Niepożądane zachowanie, które tworzy zastraszające, wrogie, poniżające, poniżające lub obraźliwe środowisko pracy.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oże to być zachowanie werbalne, wizualne, fizyczne, cyfrowe lub pisemne.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Każdy – nie tylko ktoś na stanowisku władzy – może angażować się w tego rodzaju niezgodne z prawem zachowania. </a:t>
          </a:r>
          <a:endParaRPr lang="en-US" kern="1200"/>
        </a:p>
      </dsp:txBody>
      <dsp:txXfrm>
        <a:off x="4267758" y="2596730"/>
        <a:ext cx="3736372" cy="217683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48B920-B1E0-4886-9BA5-B1554C666682}">
      <dsp:nvSpPr>
        <dsp:cNvPr id="0" name=""/>
        <dsp:cNvSpPr/>
      </dsp:nvSpPr>
      <dsp:spPr>
        <a:xfrm>
          <a:off x="0" y="4447"/>
          <a:ext cx="3886200" cy="169511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rogie środowisko pracy może obejmować:</a:t>
          </a:r>
          <a:endParaRPr lang="en-US" kern="1200"/>
        </a:p>
      </dsp:txBody>
      <dsp:txXfrm>
        <a:off x="82749" y="87196"/>
        <a:ext cx="3720702" cy="1529619"/>
      </dsp:txXfrm>
    </dsp:sp>
    <dsp:sp modelId="{7652FA92-FF02-4F9E-A627-EE14DD86AB00}">
      <dsp:nvSpPr>
        <dsp:cNvPr id="0" name=""/>
        <dsp:cNvSpPr/>
      </dsp:nvSpPr>
      <dsp:spPr>
        <a:xfrm>
          <a:off x="0" y="1699564"/>
          <a:ext cx="3886200" cy="17362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387" tIns="30480" rIns="170688" bIns="3048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pl" sz="2400" b="0" i="0" strike="noStrike" kern="1200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jedynczy, poważny incydent</a:t>
          </a:r>
          <a:endParaRPr lang="en-US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pl" sz="2400" b="0" i="0" strike="noStrike" kern="1200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chemat mniejszych incydentów, które budują się z czasem</a:t>
          </a:r>
          <a:endParaRPr lang="en-US" sz="2400" kern="1200" dirty="0"/>
        </a:p>
      </dsp:txBody>
      <dsp:txXfrm>
        <a:off x="0" y="1699564"/>
        <a:ext cx="3886200" cy="1736294"/>
      </dsp:txXfrm>
    </dsp:sp>
    <dsp:sp modelId="{33BCEC26-C14D-4C1B-A0A8-57892C4646B9}">
      <dsp:nvSpPr>
        <dsp:cNvPr id="0" name=""/>
        <dsp:cNvSpPr/>
      </dsp:nvSpPr>
      <dsp:spPr>
        <a:xfrm>
          <a:off x="0" y="3435859"/>
          <a:ext cx="3886200" cy="169511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2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chemat postępowania może być niewidoczny dla innych </a:t>
          </a:r>
          <a:endParaRPr lang="en-US" sz="2400" kern="1200"/>
        </a:p>
      </dsp:txBody>
      <dsp:txXfrm>
        <a:off x="82749" y="3518608"/>
        <a:ext cx="3720702" cy="152961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DE4789-F2C4-48F7-AD1A-1BC4182425B9}">
      <dsp:nvSpPr>
        <dsp:cNvPr id="0" name=""/>
        <dsp:cNvSpPr/>
      </dsp:nvSpPr>
      <dsp:spPr>
        <a:xfrm>
          <a:off x="893042" y="2278"/>
          <a:ext cx="6288751" cy="2133353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2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tereotypy dotyczące płci to wyobrażane wcześniej pomysły dotyczące tego, jak ktoś powinien być, zachowywać się lub zachowywać się w oparciu o swoją płeć. </a:t>
          </a:r>
          <a:endParaRPr lang="en-US" sz="3200" kern="1200" dirty="0"/>
        </a:p>
      </dsp:txBody>
      <dsp:txXfrm>
        <a:off x="893042" y="2278"/>
        <a:ext cx="6288751" cy="2133353"/>
      </dsp:txXfrm>
    </dsp:sp>
    <dsp:sp modelId="{C106FE37-78FC-4B91-AB63-2959EC40C132}">
      <dsp:nvSpPr>
        <dsp:cNvPr id="0" name=""/>
        <dsp:cNvSpPr/>
      </dsp:nvSpPr>
      <dsp:spPr>
        <a:xfrm>
          <a:off x="893042" y="2921726"/>
          <a:ext cx="6288751" cy="1918069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Na przykład: Prosisz </a:t>
          </a:r>
          <a:r>
            <a:rPr lang="pl" sz="3200" b="0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tylko</a:t>
          </a:r>
          <a:r>
            <a:rPr lang="pl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kobiety o kawę i przekąski do sali konferencyjnej na nadchodzące spotkanie.</a:t>
          </a:r>
          <a:endParaRPr lang="en-US" sz="3200" kern="1200"/>
        </a:p>
      </dsp:txBody>
      <dsp:txXfrm>
        <a:off x="893042" y="2921726"/>
        <a:ext cx="6288751" cy="191806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1FA31-D264-43EA-875B-A2B7B8E7012B}">
      <dsp:nvSpPr>
        <dsp:cNvPr id="0" name=""/>
        <dsp:cNvSpPr/>
      </dsp:nvSpPr>
      <dsp:spPr>
        <a:xfrm>
          <a:off x="0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rzełożeni</a:t>
          </a:r>
          <a:endParaRPr lang="en-US" kern="1200"/>
        </a:p>
      </dsp:txBody>
      <dsp:txXfrm>
        <a:off x="0" y="622433"/>
        <a:ext cx="2458164" cy="1474898"/>
      </dsp:txXfrm>
    </dsp:sp>
    <dsp:sp modelId="{4573CE03-A660-44F7-B0C8-0BF6532B8A05}">
      <dsp:nvSpPr>
        <dsp:cNvPr id="0" name=""/>
        <dsp:cNvSpPr/>
      </dsp:nvSpPr>
      <dsp:spPr>
        <a:xfrm>
          <a:off x="2703980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Kierownicy</a:t>
          </a:r>
          <a:endParaRPr lang="en-US" kern="1200"/>
        </a:p>
      </dsp:txBody>
      <dsp:txXfrm>
        <a:off x="2703980" y="622433"/>
        <a:ext cx="2458164" cy="1474898"/>
      </dsp:txXfrm>
    </dsp:sp>
    <dsp:sp modelId="{7D292785-63DD-40E5-BF38-3BDE0B2D1FB7}">
      <dsp:nvSpPr>
        <dsp:cNvPr id="0" name=""/>
        <dsp:cNvSpPr/>
      </dsp:nvSpPr>
      <dsp:spPr>
        <a:xfrm>
          <a:off x="5407961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spółpracownicy</a:t>
          </a:r>
          <a:endParaRPr lang="en-US" kern="1200"/>
        </a:p>
      </dsp:txBody>
      <dsp:txXfrm>
        <a:off x="5407961" y="622433"/>
        <a:ext cx="2458164" cy="1474898"/>
      </dsp:txXfrm>
    </dsp:sp>
    <dsp:sp modelId="{8E5F5894-71D7-4AD0-AB3F-825397E67428}">
      <dsp:nvSpPr>
        <dsp:cNvPr id="0" name=""/>
        <dsp:cNvSpPr/>
      </dsp:nvSpPr>
      <dsp:spPr>
        <a:xfrm>
          <a:off x="0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Dostawcy</a:t>
          </a:r>
          <a:endParaRPr lang="en-US" kern="1200"/>
        </a:p>
      </dsp:txBody>
      <dsp:txXfrm>
        <a:off x="0" y="2343148"/>
        <a:ext cx="2458164" cy="1474898"/>
      </dsp:txXfrm>
    </dsp:sp>
    <dsp:sp modelId="{41438514-9CE3-4267-8433-2A509C733917}">
      <dsp:nvSpPr>
        <dsp:cNvPr id="0" name=""/>
        <dsp:cNvSpPr/>
      </dsp:nvSpPr>
      <dsp:spPr>
        <a:xfrm>
          <a:off x="2703980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Klienci</a:t>
          </a:r>
          <a:endParaRPr lang="en-US" kern="1200"/>
        </a:p>
      </dsp:txBody>
      <dsp:txXfrm>
        <a:off x="2703980" y="2343148"/>
        <a:ext cx="2458164" cy="1474898"/>
      </dsp:txXfrm>
    </dsp:sp>
    <dsp:sp modelId="{CD7FF0B3-454C-4F5A-9542-9E88E96578B7}">
      <dsp:nvSpPr>
        <dsp:cNvPr id="0" name=""/>
        <dsp:cNvSpPr/>
      </dsp:nvSpPr>
      <dsp:spPr>
        <a:xfrm>
          <a:off x="5407961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34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ykonawcy</a:t>
          </a:r>
          <a:endParaRPr lang="en-US" sz="3400" kern="1200" dirty="0"/>
        </a:p>
      </dsp:txBody>
      <dsp:txXfrm>
        <a:off x="5407961" y="2343148"/>
        <a:ext cx="2458164" cy="147489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286E4F-7206-4C05-AD55-DC212A1A5DC4}">
      <dsp:nvSpPr>
        <dsp:cNvPr id="0" name=""/>
        <dsp:cNvSpPr/>
      </dsp:nvSpPr>
      <dsp:spPr>
        <a:xfrm>
          <a:off x="211528" y="895"/>
          <a:ext cx="3172059" cy="17320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stępowanie wizualne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zbywanie się, wykonywanie gestów seksualnych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yświetlanie sugestywnych przedmiotów, zdjęć, kreskówek lub plakatów w formie drukowanej lub cyfrowej</a:t>
          </a:r>
        </a:p>
      </dsp:txBody>
      <dsp:txXfrm>
        <a:off x="211528" y="895"/>
        <a:ext cx="3172059" cy="1732001"/>
      </dsp:txXfrm>
    </dsp:sp>
    <dsp:sp modelId="{988B99C9-8C3B-43DD-B195-DE7699CD3887}">
      <dsp:nvSpPr>
        <dsp:cNvPr id="0" name=""/>
        <dsp:cNvSpPr/>
      </dsp:nvSpPr>
      <dsp:spPr>
        <a:xfrm>
          <a:off x="3700793" y="179409"/>
          <a:ext cx="3172059" cy="137497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Zachowania fizyczn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Dotykanie, przytulanie lub masaż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Napaść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Hamowanie lub blokowanie ruchu </a:t>
          </a:r>
        </a:p>
      </dsp:txBody>
      <dsp:txXfrm>
        <a:off x="3700793" y="179409"/>
        <a:ext cx="3172059" cy="1374973"/>
      </dsp:txXfrm>
    </dsp:sp>
    <dsp:sp modelId="{66092D74-200C-439C-BC45-FB0319721481}">
      <dsp:nvSpPr>
        <dsp:cNvPr id="0" name=""/>
        <dsp:cNvSpPr/>
      </dsp:nvSpPr>
      <dsp:spPr>
        <a:xfrm>
          <a:off x="669938" y="2050103"/>
          <a:ext cx="5744504" cy="257781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stępowanie werbalne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ygłaszanie lub wykorzystywanie uwłaczających komentarzy, obelg lub żartów osobiście lub za pośrednictwem wiadomości tekstowych, wiadomości e-mail lub wiadomości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Werbalne propozycje seksualne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łowne nadużycia o charakterze seksualnym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Grafika ustnych komentarzy na temat ciała danej osoby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l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ksualnie poniżające słowa używane do opisania osoby, sugestywne lub obsceniczne listy, notatki lub zaproszenia</a:t>
          </a:r>
        </a:p>
      </dsp:txBody>
      <dsp:txXfrm>
        <a:off x="669938" y="2050103"/>
        <a:ext cx="5744504" cy="257781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9A27DE-1A9D-4CFC-BE2E-D6325D4C73B2}">
      <dsp:nvSpPr>
        <dsp:cNvPr id="0" name=""/>
        <dsp:cNvSpPr/>
      </dsp:nvSpPr>
      <dsp:spPr>
        <a:xfrm>
          <a:off x="825827" y="248221"/>
          <a:ext cx="658916" cy="65891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FCE879-EDA8-4A56-B9E8-3934B4682EB9}">
      <dsp:nvSpPr>
        <dsp:cNvPr id="0" name=""/>
        <dsp:cNvSpPr/>
      </dsp:nvSpPr>
      <dsp:spPr>
        <a:xfrm>
          <a:off x="423156" y="1135665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Wirtualne interakcje</a:t>
          </a:r>
          <a:endParaRPr lang="en-US" kern="1200"/>
        </a:p>
      </dsp:txBody>
      <dsp:txXfrm>
        <a:off x="423156" y="1135665"/>
        <a:ext cx="1464257" cy="585703"/>
      </dsp:txXfrm>
    </dsp:sp>
    <dsp:sp modelId="{B02E9D7E-F6E6-43AD-AAC9-B8DAE5007E4C}">
      <dsp:nvSpPr>
        <dsp:cNvPr id="0" name=""/>
        <dsp:cNvSpPr/>
      </dsp:nvSpPr>
      <dsp:spPr>
        <a:xfrm>
          <a:off x="2546329" y="248221"/>
          <a:ext cx="658916" cy="65891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45D0FB-691D-4DD1-A770-EFD951B22D94}">
      <dsp:nvSpPr>
        <dsp:cNvPr id="0" name=""/>
        <dsp:cNvSpPr/>
      </dsp:nvSpPr>
      <dsp:spPr>
        <a:xfrm>
          <a:off x="2143659" y="1135665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rzyjęcia świąteczne</a:t>
          </a:r>
          <a:endParaRPr lang="en-US" kern="1200"/>
        </a:p>
      </dsp:txBody>
      <dsp:txXfrm>
        <a:off x="2143659" y="1135665"/>
        <a:ext cx="1464257" cy="585703"/>
      </dsp:txXfrm>
    </dsp:sp>
    <dsp:sp modelId="{4E3EF8FC-D81C-4C6A-806C-EA4743F4BA77}">
      <dsp:nvSpPr>
        <dsp:cNvPr id="0" name=""/>
        <dsp:cNvSpPr/>
      </dsp:nvSpPr>
      <dsp:spPr>
        <a:xfrm>
          <a:off x="4266832" y="248221"/>
          <a:ext cx="658916" cy="65891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5E8662-2533-42D8-B4B8-521917D7DEAC}">
      <dsp:nvSpPr>
        <dsp:cNvPr id="0" name=""/>
        <dsp:cNvSpPr/>
      </dsp:nvSpPr>
      <dsp:spPr>
        <a:xfrm>
          <a:off x="3864162" y="1135665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siłki</a:t>
          </a:r>
          <a:endParaRPr lang="en-US" kern="1200"/>
        </a:p>
      </dsp:txBody>
      <dsp:txXfrm>
        <a:off x="3864162" y="1135665"/>
        <a:ext cx="1464257" cy="585703"/>
      </dsp:txXfrm>
    </dsp:sp>
    <dsp:sp modelId="{57CC4C62-BD4B-45BD-83D8-0A29B71FFADD}">
      <dsp:nvSpPr>
        <dsp:cNvPr id="0" name=""/>
        <dsp:cNvSpPr/>
      </dsp:nvSpPr>
      <dsp:spPr>
        <a:xfrm>
          <a:off x="886967" y="2162332"/>
          <a:ext cx="658916" cy="65891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47C313-91DA-4206-839D-B34E91EFC201}">
      <dsp:nvSpPr>
        <dsp:cNvPr id="0" name=""/>
        <dsp:cNvSpPr/>
      </dsp:nvSpPr>
      <dsp:spPr>
        <a:xfrm>
          <a:off x="475488" y="2939635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Konferencje i targi</a:t>
          </a:r>
          <a:endParaRPr lang="en-US" kern="1200"/>
        </a:p>
      </dsp:txBody>
      <dsp:txXfrm>
        <a:off x="475488" y="2939635"/>
        <a:ext cx="1464257" cy="585703"/>
      </dsp:txXfrm>
    </dsp:sp>
    <dsp:sp modelId="{E86A0C04-E9B4-4015-A6A8-3FB1046B29CE}">
      <dsp:nvSpPr>
        <dsp:cNvPr id="0" name=""/>
        <dsp:cNvSpPr/>
      </dsp:nvSpPr>
      <dsp:spPr>
        <a:xfrm>
          <a:off x="2546329" y="2087433"/>
          <a:ext cx="658916" cy="65891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18699A-9F44-43C4-BACD-AFA07472911A}">
      <dsp:nvSpPr>
        <dsp:cNvPr id="0" name=""/>
        <dsp:cNvSpPr/>
      </dsp:nvSpPr>
      <dsp:spPr>
        <a:xfrm>
          <a:off x="2143659" y="2974877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dróże służbowe</a:t>
          </a:r>
          <a:endParaRPr lang="en-US" kern="1200"/>
        </a:p>
      </dsp:txBody>
      <dsp:txXfrm>
        <a:off x="2143659" y="2974877"/>
        <a:ext cx="1464257" cy="585703"/>
      </dsp:txXfrm>
    </dsp:sp>
    <dsp:sp modelId="{5421B5D6-8F0B-4CBE-B7B3-DBCDD202F370}">
      <dsp:nvSpPr>
        <dsp:cNvPr id="0" name=""/>
        <dsp:cNvSpPr/>
      </dsp:nvSpPr>
      <dsp:spPr>
        <a:xfrm>
          <a:off x="4266832" y="2087433"/>
          <a:ext cx="658916" cy="658916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CD23AD-0F84-4328-BCA7-961CDC0F9CC6}">
      <dsp:nvSpPr>
        <dsp:cNvPr id="0" name=""/>
        <dsp:cNvSpPr/>
      </dsp:nvSpPr>
      <dsp:spPr>
        <a:xfrm>
          <a:off x="3864162" y="2974877"/>
          <a:ext cx="1464257" cy="5857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racownicy zdalni i domowi</a:t>
          </a:r>
          <a:endParaRPr lang="en-US" kern="1200"/>
        </a:p>
      </dsp:txBody>
      <dsp:txXfrm>
        <a:off x="3864162" y="2974877"/>
        <a:ext cx="1464257" cy="5857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169863"/>
            <a:ext cx="6159500" cy="462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0792" y="4940567"/>
            <a:ext cx="6148491" cy="3932540"/>
          </a:xfrm>
          <a:prstGeom prst="rect">
            <a:avLst/>
          </a:prstGeom>
        </p:spPr>
        <p:txBody>
          <a:bodyPr vert="horz" lIns="91001" tIns="45502" rIns="91001" bIns="455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l">
              <a:defRPr sz="1000">
                <a:solidFill>
                  <a:srgbClr val="203864"/>
                </a:solidFill>
              </a:defRPr>
            </a:lvl1pPr>
          </a:lstStyle>
          <a:p>
            <a:r>
              <a:rPr lang="en-US"/>
              <a:t>RPM International Inc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7742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r">
              <a:defRPr sz="1000">
                <a:solidFill>
                  <a:srgbClr val="203864"/>
                </a:solidFill>
              </a:defRPr>
            </a:lvl1pPr>
          </a:lstStyle>
          <a:p>
            <a:fld id="{AA05FC04-006C-4370-AA2A-61F90C8564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77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t>1</a:t>
            </a:fld>
            <a:endParaRPr lang="en-US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72E06DF-B426-4181-8E0A-454FF77366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93700" y="169863"/>
            <a:ext cx="6162675" cy="46228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C2D10176-95FB-4A01-AB36-F535C89BE4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763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385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4AFCF93-F657-4B86-AF22-65B0BC4CC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40350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4AFCF93-F657-4B86-AF22-65B0BC4CC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7C78A8F-C7D7-4FCD-ABDF-9F33A29FBA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5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2464026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9C2DC-7DD7-4CCC-9988-35B863DFA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291004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D9C2DC-7DD7-4CCC-9988-35B863DFA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22960" y="182880"/>
            <a:ext cx="7358907" cy="787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32562" y="1508760"/>
            <a:ext cx="8074836" cy="48420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04D026DA-6CE9-4966-BA89-38F47DC2EE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58353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2C2B23F-24A9-4052-948D-555AAA1D6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003217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C20818-8DDA-3F49-982E-FE672F9E4B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663" t="1445" r="10663"/>
          <a:stretch>
            <a:fillRect/>
          </a:stretch>
        </p:blipFill>
        <p:spPr>
          <a:xfrm>
            <a:off x="0" y="0"/>
            <a:ext cx="9144000" cy="51508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EFDE6D-6AB1-134F-BF2D-97D50BB8F9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35A33B2-1602-A14D-97FA-7C12265B23CF}"/>
              </a:ext>
            </a:extLst>
          </p:cNvPr>
          <p:cNvSpPr/>
          <p:nvPr userDrawn="1"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FBB4451-9D41-6B4E-8FB0-339D4F654ADC}"/>
              </a:ext>
            </a:extLst>
          </p:cNvPr>
          <p:cNvSpPr/>
          <p:nvPr userDrawn="1"/>
        </p:nvSpPr>
        <p:spPr>
          <a:xfrm flipH="1">
            <a:off x="0" y="4135179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E489EC-E4C0-BC4F-B047-C4F8266835C7}"/>
              </a:ext>
            </a:extLst>
          </p:cNvPr>
          <p:cNvCxnSpPr/>
          <p:nvPr userDrawn="1"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233C4D-12E6-CD44-B89E-3C9A22EA8343}"/>
              </a:ext>
            </a:extLst>
          </p:cNvPr>
          <p:cNvCxnSpPr/>
          <p:nvPr userDrawn="1"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D9ED571-82D2-D246-A47D-A80C822ADDD7}"/>
              </a:ext>
            </a:extLst>
          </p:cNvPr>
          <p:cNvSpPr txBox="1"/>
          <p:nvPr userDrawn="1"/>
        </p:nvSpPr>
        <p:spPr>
          <a:xfrm>
            <a:off x="394768" y="421272"/>
            <a:ext cx="3699545" cy="51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" sz="2800" b="1" i="0" strike="noStrike" cap="none" spc="0" baseline="0">
                <a:solidFill>
                  <a:srgbClr val="FFFFFF"/>
                </a:solidFill>
                <a:effectLst>
                  <a:outerShdw blurRad="50800" dist="38100" dir="2700000" algn="tl" rotWithShape="0">
                    <a:srgbClr val="000000">
                      <a:alpha val="40000"/>
                    </a:srgbClr>
                  </a:outerShdw>
                </a:effectLst>
                <a:latin typeface="Calibri"/>
                <a:ea typeface="Calibri"/>
                <a:cs typeface="Calibri"/>
              </a:rPr>
              <a:t>WARTOŚĆ 168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10BB95-7967-7648-835C-D3C45FEF1074}"/>
              </a:ext>
            </a:extLst>
          </p:cNvPr>
          <p:cNvCxnSpPr/>
          <p:nvPr userDrawn="1"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2122B-42C6-2540-B8D4-3C80E6EA587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C04F3EC-D42F-3844-AEEA-6508D089560E}"/>
              </a:ext>
            </a:extLst>
          </p:cNvPr>
          <p:cNvCxnSpPr>
            <a:stCxn id="7" idx="0"/>
          </p:cNvCxnSpPr>
          <p:nvPr userDrawn="1"/>
        </p:nvCxnSpPr>
        <p:spPr>
          <a:xfrm flipH="1">
            <a:off x="9144000" y="4135179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5431631"/>
            <a:ext cx="7886700" cy="1019969"/>
          </a:xfrm>
        </p:spPr>
        <p:txBody>
          <a:bodyPr anchor="t"/>
          <a:lstStyle>
            <a:lvl1pPr algn="ctr"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5906287"/>
            <a:ext cx="7886700" cy="824714"/>
          </a:xfrm>
        </p:spPr>
        <p:txBody>
          <a:bodyPr anchor="t">
            <a:normAutofit/>
          </a:bodyPr>
          <a:lstStyle>
            <a:lvl1pPr marL="0" indent="0" algn="ctr">
              <a:buNone/>
              <a:defRPr sz="19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67379C8A-A8C7-5444-8968-BF22585B14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77E463F-897D-E840-990E-1EA31520D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62826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08760"/>
            <a:ext cx="3886200" cy="51354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08760"/>
            <a:ext cx="3886200" cy="51354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7717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82D8D2-D001-447A-9CC3-6A70A245A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A0836A-9EC2-4646-A6C5-9387BF5F7E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8DB757-C18B-024A-B87B-4106DB5C635E}"/>
              </a:ext>
            </a:extLst>
          </p:cNvPr>
          <p:cNvSpPr/>
          <p:nvPr userDrawn="1"/>
        </p:nvSpPr>
        <p:spPr>
          <a:xfrm>
            <a:off x="0" y="0"/>
            <a:ext cx="9144000" cy="6362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74402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E2D8CFC-3DEC-FD4D-96D7-7194133CD71D}"/>
              </a:ext>
            </a:extLst>
          </p:cNvPr>
          <p:cNvSpPr/>
          <p:nvPr userDrawn="1"/>
        </p:nvSpPr>
        <p:spPr>
          <a:xfrm>
            <a:off x="0" y="0"/>
            <a:ext cx="9144000" cy="47897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32B61A1D-A6C9-744B-8A85-17AC7E0D5A56}"/>
              </a:ext>
            </a:extLst>
          </p:cNvPr>
          <p:cNvSpPr/>
          <p:nvPr userDrawn="1"/>
        </p:nvSpPr>
        <p:spPr>
          <a:xfrm flipV="1">
            <a:off x="0" y="469706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C1FA3CD-B01F-DC44-8BC7-68255466CE53}"/>
              </a:ext>
            </a:extLst>
          </p:cNvPr>
          <p:cNvSpPr/>
          <p:nvPr userDrawn="1"/>
        </p:nvSpPr>
        <p:spPr>
          <a:xfrm>
            <a:off x="-539388" y="-127453"/>
            <a:ext cx="1288868" cy="159366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47609-9833-467F-ADAA-9AD838BECE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27716345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47609-9833-467F-ADAA-9AD838BE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DC626B4-3FDA-42D9-90C5-C9E389B82763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40513" y="1508760"/>
            <a:ext cx="8222925" cy="495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842DD3-1F47-49B9-8BEC-7D41C6439C2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65FD2D-E7F9-42B7-BFD9-48910D97D38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C7278D-9D52-4F44-9B05-6B28B38BBC0A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273498" y="122216"/>
            <a:ext cx="449083" cy="21579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031173-76F9-0B4F-ADB8-48A4534C30F2}"/>
              </a:ext>
            </a:extLst>
          </p:cNvPr>
          <p:cNvCxnSpPr/>
          <p:nvPr userDrawn="1"/>
        </p:nvCxnSpPr>
        <p:spPr>
          <a:xfrm flipV="1">
            <a:off x="0" y="412750"/>
            <a:ext cx="9144000" cy="990786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6C55FC23-F9BC-A94F-8AD6-09F5A1F6773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9330" y="431503"/>
            <a:ext cx="565670" cy="98906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83A96E6-6F6D-8449-930B-00072C356C7C}"/>
              </a:ext>
            </a:extLst>
          </p:cNvPr>
          <p:cNvCxnSpPr>
            <a:stCxn id="8" idx="0"/>
          </p:cNvCxnSpPr>
          <p:nvPr userDrawn="1"/>
        </p:nvCxnSpPr>
        <p:spPr>
          <a:xfrm flipV="1">
            <a:off x="0" y="473075"/>
            <a:ext cx="9144000" cy="99500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19807" y="208455"/>
            <a:ext cx="7371956" cy="7679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884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</p:sldLayoutIdLst>
  <p:transition spd="med">
    <p:fade/>
  </p:transition>
  <p:hf hdr="0" ftr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C812F8B-2EF6-0C48-B62F-F33EBB9687F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663" t="1445" r="10663"/>
          <a:stretch>
            <a:fillRect/>
          </a:stretch>
        </p:blipFill>
        <p:spPr>
          <a:xfrm>
            <a:off x="0" y="0"/>
            <a:ext cx="9144000" cy="51508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04C59E1-3B19-0D40-B987-2944D4246F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D1A6E58-379A-954B-8D70-B060637170A2}"/>
              </a:ext>
            </a:extLst>
          </p:cNvPr>
          <p:cNvSpPr/>
          <p:nvPr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DFF0CA6-E303-2348-B796-6D178EB6E4D3}"/>
              </a:ext>
            </a:extLst>
          </p:cNvPr>
          <p:cNvSpPr/>
          <p:nvPr/>
        </p:nvSpPr>
        <p:spPr>
          <a:xfrm flipH="1">
            <a:off x="0" y="4152463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F7D5242-B4D2-1646-89B9-3E03D1D54BCE}"/>
              </a:ext>
            </a:extLst>
          </p:cNvPr>
          <p:cNvCxnSpPr/>
          <p:nvPr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E150B4-CE81-B645-B8DD-D661ADB3040F}"/>
              </a:ext>
            </a:extLst>
          </p:cNvPr>
          <p:cNvCxnSpPr/>
          <p:nvPr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790" y="5615189"/>
            <a:ext cx="6593548" cy="1077159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pl" sz="22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Zapobieganie dyskryminacji i nękaniu — </a:t>
            </a:r>
            <a:endParaRPr lang="en-US" sz="2200" b="1">
              <a:solidFill>
                <a:schemeClr val="bg1"/>
              </a:solidFill>
            </a:endParaRPr>
          </a:p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pl" sz="22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Szkolenie dotyczące zgodności FY24</a:t>
            </a:r>
            <a:endParaRPr lang="en-US" sz="22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42425E-A48E-8D44-A86D-85D3E13207A7}"/>
              </a:ext>
            </a:extLst>
          </p:cNvPr>
          <p:cNvSpPr txBox="1"/>
          <p:nvPr/>
        </p:nvSpPr>
        <p:spPr>
          <a:xfrm>
            <a:off x="394768" y="421272"/>
            <a:ext cx="3699545" cy="51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" sz="2800" b="1" i="0" strike="noStrike" cap="none" spc="0" baseline="0">
                <a:solidFill>
                  <a:srgbClr val="FFFFFF"/>
                </a:solidFill>
                <a:effectLst>
                  <a:outerShdw blurRad="50800" dist="38100" dir="2700000" algn="tl" rotWithShape="0">
                    <a:srgbClr val="000000">
                      <a:alpha val="40000"/>
                    </a:srgbClr>
                  </a:outerShdw>
                </a:effectLst>
                <a:latin typeface="Calibri"/>
                <a:ea typeface="Calibri"/>
                <a:cs typeface="Calibri"/>
              </a:rPr>
              <a:t>WARTOŚĆ 168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81D68DD-7A28-DF47-ABBD-D69140B4E63D}"/>
              </a:ext>
            </a:extLst>
          </p:cNvPr>
          <p:cNvCxnSpPr/>
          <p:nvPr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09E664D-F33C-9D48-8022-9E0FE5BA76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B091654-56DC-5146-B9A1-A4907B645E15}"/>
              </a:ext>
            </a:extLst>
          </p:cNvPr>
          <p:cNvCxnSpPr>
            <a:stCxn id="15" idx="0"/>
          </p:cNvCxnSpPr>
          <p:nvPr/>
        </p:nvCxnSpPr>
        <p:spPr>
          <a:xfrm flipH="1">
            <a:off x="9144000" y="4152463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086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40FB64-517A-045C-1638-7D89A7730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Stereotypy płci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5E14-FCB1-3B13-D835-D59B6037D2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graphicFrame>
        <p:nvGraphicFramePr>
          <p:cNvPr id="13" name="TextBox 9">
            <a:extLst>
              <a:ext uri="{FF2B5EF4-FFF2-40B4-BE49-F238E27FC236}">
                <a16:creationId xmlns:a16="http://schemas.microsoft.com/office/drawing/2014/main" id="{A605F809-B93D-1529-EAB4-05210895DD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5015489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29028075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F7C06-45B6-945D-F08D-4AAB849266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pl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PRAWDA CZY FAŁSZ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823FF2-551E-7D6F-6CCD-EA59870F37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Nękanie, w tym molestowanie seksualne, jest zazwyczaj tylko problemem dla osoby, której dotyczy niewłaściwe zachowanie.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887C8EDA-FA8D-283E-29C1-6B273725AD7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71407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5B0CF-AD71-9F8C-FFBD-862027E1DE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pl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Odpowiedź..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FB85F-FAA5-6EF4-2934-3E9F00A245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owyższe stwierdzenie jest </a:t>
            </a:r>
            <a:r>
              <a:rPr lang="pl" sz="1800" b="0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fałszywe.</a:t>
            </a:r>
          </a:p>
          <a:p>
            <a:pPr marL="0" indent="0">
              <a:buNone/>
            </a:pPr>
            <a:endParaRPr lang="en-GB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Nękanie wpływa na cel niewłaściwego postępowania. Ale wpływa również na innych – i wysyła komunikat o tym, co jest, a co nie jest w miejscu pracy, do każdego, kto je widzi lub dowiaduje się o tym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21FA72F-4212-FE12-1424-62C3FEE3D4E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38CE618F-A5D6-E7C6-2EA4-C0E26217EC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849477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89488-AD7C-C86B-4344-F39C58EF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Molestowanie seksualne – czy jesteś w stanie je dostrzec? 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A181491-B689-7B55-6950-8F5EF03E8E8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graphicFrame>
        <p:nvGraphicFramePr>
          <p:cNvPr id="8" name="TextBox 5">
            <a:extLst>
              <a:ext uri="{FF2B5EF4-FFF2-40B4-BE49-F238E27FC236}">
                <a16:creationId xmlns:a16="http://schemas.microsoft.com/office/drawing/2014/main" id="{25435880-DE83-4AE6-0C0C-E8BEDD1254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0165622"/>
              </p:ext>
            </p:extLst>
          </p:nvPr>
        </p:nvGraphicFramePr>
        <p:xfrm>
          <a:off x="628650" y="2203704"/>
          <a:ext cx="7866126" cy="444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2F99416-9CFC-4A6D-56C2-F38A9754D7B6}"/>
              </a:ext>
            </a:extLst>
          </p:cNvPr>
          <p:cNvSpPr txBox="1"/>
          <p:nvPr/>
        </p:nvSpPr>
        <p:spPr>
          <a:xfrm>
            <a:off x="628650" y="1765218"/>
            <a:ext cx="8282178" cy="6400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/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Każdy może angażować się w molestowanie seksualne, a każdy może być celem takich działań, w tym:</a:t>
            </a:r>
          </a:p>
        </p:txBody>
      </p:sp>
    </p:spTree>
    <p:extLst>
      <p:ext uri="{BB962C8B-B14F-4D97-AF65-F5344CB8AC3E}">
        <p14:creationId xmlns:p14="http://schemas.microsoft.com/office/powerpoint/2010/main" val="969127443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D89D8-C4F0-F31B-727F-15B2F6DC5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Nieodpowiedni język i komentarz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675047-B99C-FF66-70F8-F831DAF176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zy któryś z tych scenariuszy jest niewłaściwy?</a:t>
            </a:r>
          </a:p>
          <a:p>
            <a:endParaRPr lang="en-GB"/>
          </a:p>
          <a:p>
            <a:pPr marL="685775" lvl="1" indent="-342900">
              <a:buFont typeface="+mj-lt"/>
              <a:buAutoNum type="arabicPeriod"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ostawca kontaktuje się z pracownikiem bez jego zgody, aby dotknąć twarzy i usunąć rzęsy.</a:t>
            </a:r>
          </a:p>
          <a:p>
            <a:pPr marL="685775" lvl="1" indent="-342900">
              <a:buFont typeface="+mj-lt"/>
              <a:buAutoNum type="arabicPeriod"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enedżer zachęca pracownika do wykorzystania swojego „kobiecego uroku”, aby wygłosić swój punkt na spotkaniu.</a:t>
            </a:r>
          </a:p>
          <a:p>
            <a:pPr marL="685775" lvl="1" indent="-342900">
              <a:buFont typeface="+mj-lt"/>
              <a:buAutoNum type="arabicPeriod"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Współpracownik komentuje niebinarny status klienta... „To tylko trend”... „Hej, ona, oni... Cokolwiek!”</a:t>
            </a:r>
          </a:p>
          <a:p>
            <a:pPr lvl="1"/>
            <a:endParaRPr lang="en-GB"/>
          </a:p>
          <a:p>
            <a:pPr marL="342875" lvl="1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ODPOWIEDŹ... </a:t>
            </a:r>
            <a:r>
              <a:rPr lang="pl" sz="18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TAK! </a:t>
            </a:r>
          </a:p>
          <a:p>
            <a:pPr marL="342875" lvl="1" indent="0">
              <a:buNone/>
            </a:pPr>
            <a:endParaRPr lang="en-GB" b="1">
              <a:solidFill>
                <a:srgbClr val="FF0000"/>
              </a:solidFill>
            </a:endParaRPr>
          </a:p>
          <a:p>
            <a:pPr marL="342875" lvl="1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amiętaj... Molestowanie seksualne może obejmować niepożądane lub obraźliwe zachowanie skierowane przeciwko:</a:t>
            </a:r>
          </a:p>
          <a:p>
            <a:pPr marL="342875" lvl="1" indent="0">
              <a:buNone/>
            </a:pPr>
            <a:endParaRPr lang="en-GB"/>
          </a:p>
          <a:p>
            <a:pPr marL="342875" lvl="1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Tożsamość płciowa</a:t>
            </a:r>
          </a:p>
          <a:p>
            <a:pPr marL="342875" lvl="1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Ekspresja płciowa </a:t>
            </a:r>
          </a:p>
          <a:p>
            <a:pPr marL="342875" lvl="1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Status transpłciowy</a:t>
            </a:r>
          </a:p>
          <a:p>
            <a:pPr marL="342875" lvl="1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Orientacja seksualn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B0E1BA-5FF0-2785-4FDB-357BAF0F1F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0264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BD99-728D-2A6F-22A6-5226E04A7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Wrogie środowisko prac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0333A6-3546-C11B-87C7-BE48050D68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5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5DFE61-20E0-D5EC-D0CE-22F6BE2E082B}"/>
              </a:ext>
            </a:extLst>
          </p:cNvPr>
          <p:cNvSpPr txBox="1"/>
          <p:nvPr/>
        </p:nvSpPr>
        <p:spPr>
          <a:xfrm>
            <a:off x="371440" y="6305788"/>
            <a:ext cx="8261946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" sz="1800" b="0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Zawsze kieruj się najlepszym osądem, aby mieć pewność, że Twoje zachowanie jest pełne szacunku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710745-2062-F17B-E90E-EA2A4D39D9B6}"/>
              </a:ext>
            </a:extLst>
          </p:cNvPr>
          <p:cNvSpPr txBox="1"/>
          <p:nvPr/>
        </p:nvSpPr>
        <p:spPr>
          <a:xfrm>
            <a:off x="1055856" y="1263197"/>
            <a:ext cx="7847861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zykłady zachowań, które mogą prowadzić do powstania nieprzyjaznego środowiska pracy, to...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066EC6C-DCB6-3357-ABD4-0298BB5F32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7765180"/>
              </p:ext>
            </p:extLst>
          </p:nvPr>
        </p:nvGraphicFramePr>
        <p:xfrm>
          <a:off x="905521" y="1897800"/>
          <a:ext cx="7084381" cy="46288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94826995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93504-B4E9-2A53-F774-60838F5F4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Na miejscu a poza ni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041D41-19C3-C0F8-D7C8-57DBB24DE4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18E2935-DEEB-A2F1-2E13-5C287F2198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9020485"/>
              </p:ext>
            </p:extLst>
          </p:nvPr>
        </p:nvGraphicFramePr>
        <p:xfrm>
          <a:off x="1553473" y="2221778"/>
          <a:ext cx="5751576" cy="3808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617987A-B474-0F02-9399-C3497F7BC0B9}"/>
              </a:ext>
            </a:extLst>
          </p:cNvPr>
          <p:cNvSpPr txBox="1"/>
          <p:nvPr/>
        </p:nvSpPr>
        <p:spPr>
          <a:xfrm>
            <a:off x="1989670" y="1620274"/>
            <a:ext cx="4879181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zepisy i nasze polityki obowiązują również poza terenem firmy, w ty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5B49E7-54D4-4F8F-19AA-C7F830247548}"/>
              </a:ext>
            </a:extLst>
          </p:cNvPr>
          <p:cNvSpPr txBox="1"/>
          <p:nvPr/>
        </p:nvSpPr>
        <p:spPr>
          <a:xfrm>
            <a:off x="551000" y="6125592"/>
            <a:ext cx="8042000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zepisy prawa i nasze polityki dotyczą wszystkich, niezależnie od tego, gdzie pracują</a:t>
            </a:r>
          </a:p>
        </p:txBody>
      </p:sp>
    </p:spTree>
    <p:extLst>
      <p:ext uri="{BB962C8B-B14F-4D97-AF65-F5344CB8AC3E}">
        <p14:creationId xmlns:p14="http://schemas.microsoft.com/office/powerpoint/2010/main" val="298079491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F838BE-D35C-18F4-DD18-076F9D973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Dyskryminacj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EE7B1D-3612-EFA3-F9DC-ECF372B09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7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66F432-C4F6-FCEE-F1EB-C13A0EC3264F}"/>
              </a:ext>
            </a:extLst>
          </p:cNvPr>
          <p:cNvSpPr txBox="1"/>
          <p:nvPr/>
        </p:nvSpPr>
        <p:spPr>
          <a:xfrm>
            <a:off x="639192" y="2024108"/>
            <a:ext cx="3357166" cy="4754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yskryminacja może mieć wpływ na ważne decyzje zawodowe dotyczące tego, jak ludzie otrzymują: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Zatrudnio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Zwolni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Zapłaco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wansowa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Zdegradowany</a:t>
            </a:r>
          </a:p>
          <a:p>
            <a:endParaRPr lang="en-US"/>
          </a:p>
          <a:p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zepisy zabraniają podejmowania decyzji w oparciu o chronione podstawy.</a:t>
            </a:r>
          </a:p>
          <a:p>
            <a:endParaRPr lang="en-US"/>
          </a:p>
          <a:p>
            <a:endParaRPr lang="en-US"/>
          </a:p>
        </p:txBody>
      </p:sp>
      <p:pic>
        <p:nvPicPr>
          <p:cNvPr id="9" name="Content Placeholder 8" descr="A person and person shaking hands&#10;&#10;Description automatically generated">
            <a:extLst>
              <a:ext uri="{FF2B5EF4-FFF2-40B4-BE49-F238E27FC236}">
                <a16:creationId xmlns:a16="http://schemas.microsoft.com/office/drawing/2014/main" id="{9C1D1F2A-121C-6765-A5A7-1F5882EF55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0" y="2152325"/>
            <a:ext cx="4140200" cy="3105150"/>
          </a:xfrm>
        </p:spPr>
      </p:pic>
    </p:spTree>
    <p:extLst>
      <p:ext uri="{BB962C8B-B14F-4D97-AF65-F5344CB8AC3E}">
        <p14:creationId xmlns:p14="http://schemas.microsoft.com/office/powerpoint/2010/main" val="981669481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4E336-4484-55C6-395A-D378598BF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Nękanie w miejscu prac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FEABC1-0E2B-CA86-F809-3DA3A9B36182}"/>
              </a:ext>
            </a:extLst>
          </p:cNvPr>
          <p:cNvSpPr txBox="1"/>
          <p:nvPr/>
        </p:nvSpPr>
        <p:spPr>
          <a:xfrm>
            <a:off x="628650" y="1508760"/>
            <a:ext cx="3886200" cy="5135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olityka RPM zabrania nadużyć, takich jak:</a:t>
            </a:r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endParaRPr lang="en-US" sz="2100"/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Nękanie w miejscu pracy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olestowanie moralne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olestowanie psychologiczne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Wiktymizacja</a:t>
            </a:r>
            <a:endParaRPr lang="en-US" sz="2100"/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endParaRPr lang="en-US" sz="2100"/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Napastliwe zachowania nie będą tolerowane i mogą skutkować postępowaniem dyscyplinarnym, a nawet zwolnieniem. 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670D2939-C375-9080-79F4-79D7BEEB615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70412" y="1508125"/>
            <a:ext cx="3803676" cy="5135563"/>
          </a:xfrm>
        </p:spPr>
      </p:pic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1CE12886-C52E-1C5C-F8AC-E1C4DF71345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236543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4E63CD8-53B4-AF1A-FBA4-05945FE997A1}"/>
              </a:ext>
            </a:extLst>
          </p:cNvPr>
          <p:cNvSpPr txBox="1"/>
          <p:nvPr/>
        </p:nvSpPr>
        <p:spPr>
          <a:xfrm>
            <a:off x="431800" y="1508125"/>
            <a:ext cx="4071938" cy="48418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/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pl" sz="2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cenariusz:</a:t>
            </a:r>
          </a:p>
          <a:p>
            <a:pPr indent="-171438" defTabSz="685749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/>
          </a:p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pl" sz="2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Ktoś w twojej pracy żartuje z innego koloru i broni go, mówiąc, że słyszał go podczas ostatniego meczu piłkarskiego. </a:t>
            </a:r>
          </a:p>
          <a:p>
            <a:pPr indent="-171438" defTabSz="685749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/>
          </a:p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pl" sz="2600" b="0" i="1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zy uważasz, że właściwe jest powtarzanie żartów tego rodzaju w miejscu pracy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25208C-D97C-1080-772A-E506B67C4128}"/>
              </a:ext>
            </a:extLst>
          </p:cNvPr>
          <p:cNvSpPr txBox="1"/>
          <p:nvPr/>
        </p:nvSpPr>
        <p:spPr>
          <a:xfrm>
            <a:off x="4880191" y="1508124"/>
            <a:ext cx="3927475" cy="4841875"/>
          </a:xfrm>
          <a:prstGeom prst="rect">
            <a:avLst/>
          </a:prstGeom>
          <a:noFill/>
        </p:spPr>
        <p:txBody>
          <a:bodyPr wrap="square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pl" sz="2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Odpowiedź:</a:t>
            </a:r>
          </a:p>
          <a:p>
            <a:pPr>
              <a:spcAft>
                <a:spcPts val="600"/>
              </a:spcAft>
            </a:pPr>
            <a:endParaRPr lang="en-GB" sz="2600"/>
          </a:p>
          <a:p>
            <a:pPr>
              <a:spcAft>
                <a:spcPts val="600"/>
              </a:spcAft>
            </a:pPr>
            <a:r>
              <a:rPr lang="pl" sz="2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Obraźliwe zachowanie nigdy nie jest w porządku w miejscu pracy, nawet jeśli niektórzy uznają je za dopuszczalne w innych sytuacjach lub dla innych odbiorców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4F93A6-6B68-6A51-4F34-80231D8C0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Osobiste a zawodow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BF4237-341B-E413-CBB8-087B15F184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0145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0D3AE-8EA9-876D-8F7D-D72B87626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Zapobieganie dyskryminacji i nękaniu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27906F-DB2C-FA2B-83AB-BA4E1ACCE5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671493-6848-DBAF-4C09-CA1EE485840B}"/>
              </a:ext>
            </a:extLst>
          </p:cNvPr>
          <p:cNvSpPr txBox="1"/>
          <p:nvPr/>
        </p:nvSpPr>
        <p:spPr>
          <a:xfrm>
            <a:off x="299213" y="1645922"/>
            <a:ext cx="8604504" cy="5029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" sz="1800" b="1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Zawartość kursu</a:t>
            </a:r>
          </a:p>
          <a:p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zym jest nękanie i dyskryminacja?</a:t>
            </a:r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Zrozumienie chronionych obszarów </a:t>
            </a:r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olestowanie seksualne</a:t>
            </a:r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Quid Pro Quo / wrogie środowisko pracy </a:t>
            </a:r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yskryminacja</a:t>
            </a:r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Nieodpowiednie zachowanie</a:t>
            </a:r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Zastraszanie w miejscu pracy</a:t>
            </a:r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ostrzeganie niechcianych zachowań</a:t>
            </a:r>
          </a:p>
          <a:p>
            <a:pPr marL="342900" indent="-342900">
              <a:buFont typeface="+mj-lt"/>
              <a:buAutoNum type="arabicPeriod"/>
            </a:pPr>
            <a:r>
              <a:rPr lang="pl" sz="18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Zgłaszanie obaw i działań odwetowych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r>
              <a:rPr lang="pl" sz="1800" b="1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W razie jakichkolwiek pytań dotyczących szkolenia lub sposobu zastosowania określonych wymogów lokalnych należy skontaktować się ze swoim przełożonym, działem kadr lub wysłać wiadomość na adres </a:t>
            </a:r>
            <a:r>
              <a:rPr lang="pl" sz="1800" b="1" i="0" strike="noStrike" cap="none" spc="0" baseline="0" dirty="0">
                <a:solidFill>
                  <a:srgbClr val="008AFF"/>
                </a:solidFill>
                <a:effectLst/>
                <a:latin typeface="Calibri"/>
                <a:ea typeface="Calibri"/>
                <a:cs typeface="Calibri"/>
              </a:rPr>
              <a:t>compliance@rpminc.com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7898915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D5DCA-792C-6FB9-BAC9-D3F76F7F9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Zachowanie w miejscu pracy – pytanie, które należy sobie zadać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BAD8F0-78CD-0417-D5E3-330EB51977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graphicFrame>
        <p:nvGraphicFramePr>
          <p:cNvPr id="18" name="TextBox 8">
            <a:extLst>
              <a:ext uri="{FF2B5EF4-FFF2-40B4-BE49-F238E27FC236}">
                <a16:creationId xmlns:a16="http://schemas.microsoft.com/office/drawing/2014/main" id="{F2583A9D-281C-4C52-9347-26153EBC05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2389927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1158308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1F89A-BFF8-A65E-BF48-AEE160C28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Obserwator – dostrzeganie niechcianych zachowań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3BD1DC-4EC2-EFA1-8D3E-8824C47949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l" sz="1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ygnały mogą być zarówno werbalne, jak i niewerbalne</a:t>
            </a:r>
          </a:p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7514DD-D440-21D7-095B-70FC70BAC0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1</a:t>
            </a:fld>
            <a:endParaRPr lang="en-US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B3FD9947-2372-778F-84F0-D2FAEFF1D8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3162674"/>
              </p:ext>
            </p:extLst>
          </p:nvPr>
        </p:nvGraphicFramePr>
        <p:xfrm>
          <a:off x="822960" y="212703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537229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0F103-B53A-E0D6-FC92-E87A68ECF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Co zrobić, jeśli zauważysz niewłaściwe zachowani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FFE694-DF65-A7CA-A6CD-EE2D7965DCCB}"/>
              </a:ext>
            </a:extLst>
          </p:cNvPr>
          <p:cNvSpPr txBox="1"/>
          <p:nvPr/>
        </p:nvSpPr>
        <p:spPr>
          <a:xfrm>
            <a:off x="4857750" y="1280160"/>
            <a:ext cx="3886200" cy="5135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o otrzymaniu skargi RPM przeprowadzi niezwłoczne, dokładne i bezstronne dochodzenie oraz podejmie natychmiastowe i odpowiednie działania naprawcze, stosownie do okoliczności. 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endParaRPr lang="en-US" sz="2100"/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pl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W niektórych lokalizacjach osoby naruszające przepisy mogą podlegać sankcjom cywilnym i karnym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CAC6A289-2555-7CE5-76F6-FCBF4B2E0BA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35D2C2CD-0245-DEC8-473D-8517566B1470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178588699"/>
              </p:ext>
            </p:extLst>
          </p:nvPr>
        </p:nvGraphicFramePr>
        <p:xfrm>
          <a:off x="628650" y="1508760"/>
          <a:ext cx="3886200" cy="5135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61251587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B6B62-796B-C1D4-4763-5A20739A7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olityka RPM dotycząca zakazu działań odwetowych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C1BA9E3-9396-DBB5-8249-DC0FDEC133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508760"/>
            <a:ext cx="3886200" cy="5135424"/>
          </a:xfrm>
        </p:spPr>
        <p:txBody>
          <a:bodyPr>
            <a:normAutofit fontScale="90000"/>
          </a:bodyPr>
          <a:lstStyle/>
          <a:p>
            <a:pPr marL="0" indent="0">
              <a:buNone/>
            </a:pPr>
            <a:r>
              <a:rPr lang="pl" sz="1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Jeśli masz wątpliwości lub coś wydaje Ci się niewłaściwe, zgłoś to.</a:t>
            </a:r>
          </a:p>
          <a:p>
            <a:r>
              <a:rPr lang="pl" sz="1600" b="0" i="0" strike="noStrike" cap="none" spc="0" baseline="0">
                <a:solidFill>
                  <a:srgbClr val="373535"/>
                </a:solidFill>
                <a:effectLst/>
                <a:latin typeface="Calibri"/>
                <a:ea typeface="Calibri"/>
                <a:cs typeface="Calibri"/>
              </a:rPr>
              <a:t>Mogą Państwo zgłosić swoje obawy swojemu kierownikowi, Działowi Kadr, Działowi Prawnemu i ds. Zgodności lub za pośrednictwem Infolinii RPM.</a:t>
            </a:r>
          </a:p>
          <a:p>
            <a:endParaRPr lang="en-US" sz="1600">
              <a:solidFill>
                <a:srgbClr val="373535"/>
              </a:solidFill>
            </a:endParaRPr>
          </a:p>
          <a:p>
            <a:r>
              <a:rPr lang="pl" sz="1600" b="0" i="0" strike="noStrike" cap="none" spc="0" baseline="0">
                <a:solidFill>
                  <a:srgbClr val="373535"/>
                </a:solidFill>
                <a:effectLst/>
                <a:latin typeface="Calibri"/>
                <a:ea typeface="Calibri"/>
                <a:cs typeface="Calibri"/>
              </a:rPr>
              <a:t>Wszystkie zgłoszenia w dobrej wierze są traktowane poważnie i dokładnie analizowane. Zgłoszenia dotyczące wszelkich naruszeń prawa, naszych wartości i oczekiwań związanych z Zasadą 168 lub nieetycznego zachowania będą niezwłocznie i odpowiednio badane.</a:t>
            </a:r>
          </a:p>
          <a:p>
            <a:endParaRPr lang="en-US" sz="1600"/>
          </a:p>
          <a:p>
            <a:pPr marL="0" marR="0" lvl="0" indent="0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pl" sz="1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Jeżeli zgłoszą Państwo niewłaściwe postępowanie i zgłoszą je w dobrej wierze, polityka działań odwetowych spółki RPM zabrania rozwiązania stosunku pracy, degradacji, zawieszenia, nagany, ukarania, przenoszenia, grożenia, nękania lub w jakikolwiek sposób dyskryminowania za zgłoszenie wątpliwości. </a:t>
            </a:r>
          </a:p>
          <a:p>
            <a:pPr marL="57162" marR="0" inden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None/>
            </a:pPr>
            <a:endParaRPr lang="en-US" sz="1700" kern="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/>
          </a:p>
        </p:txBody>
      </p:sp>
      <p:pic>
        <p:nvPicPr>
          <p:cNvPr id="6" name="Content Placeholder 5" descr="A poster of a company&#10;&#10;Description automatically generated">
            <a:extLst>
              <a:ext uri="{FF2B5EF4-FFF2-40B4-BE49-F238E27FC236}">
                <a16:creationId xmlns:a16="http://schemas.microsoft.com/office/drawing/2014/main" id="{486A5F75-0C93-46BB-29E1-EEFA342C3D9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29150" y="1511323"/>
            <a:ext cx="3886200" cy="5130297"/>
          </a:xfrm>
          <a:noFill/>
        </p:spPr>
      </p:pic>
    </p:spTree>
    <p:extLst>
      <p:ext uri="{BB962C8B-B14F-4D97-AF65-F5344CB8AC3E}">
        <p14:creationId xmlns:p14="http://schemas.microsoft.com/office/powerpoint/2010/main" val="3534279248"/>
      </p:ext>
    </p:extLst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A7B45-5B3C-3DB0-1BE4-A2E8E5DFB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Działania odwetowe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1DFAF-2C91-7422-79F7-D1B6D66C8A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78DC15E-F928-C464-FBA0-36933CA4DB4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366278"/>
              </p:ext>
            </p:extLst>
          </p:nvPr>
        </p:nvGraphicFramePr>
        <p:xfrm>
          <a:off x="432562" y="2160606"/>
          <a:ext cx="8074836" cy="43977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98B0EE6-D2E3-A34A-D0E6-B7CFF8ADAFCF}"/>
              </a:ext>
            </a:extLst>
          </p:cNvPr>
          <p:cNvSpPr txBox="1"/>
          <p:nvPr/>
        </p:nvSpPr>
        <p:spPr>
          <a:xfrm>
            <a:off x="432562" y="1470164"/>
            <a:ext cx="6995604" cy="365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zykłady działań odwetowych:</a:t>
            </a:r>
          </a:p>
        </p:txBody>
      </p:sp>
    </p:spTree>
    <p:extLst>
      <p:ext uri="{BB962C8B-B14F-4D97-AF65-F5344CB8AC3E}">
        <p14:creationId xmlns:p14="http://schemas.microsoft.com/office/powerpoint/2010/main" val="3114590533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00DF9-EC86-26D1-EB48-FAC8A23DB6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pl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Prawda czy fałsz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04A50-C316-495F-A22D-CFF6B8954D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Oprócz kierowników współpracownicy mogą angażować się w zabronione działania odwetowe. 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11DF32BB-A75F-A819-0F62-EAD6E91DC80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ECA4A55-F7A7-46D2-6885-64D7C77172C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928972"/>
      </p:ext>
    </p:extLst>
  </p:cSld>
  <p:clrMapOvr>
    <a:masterClrMapping/>
  </p:clrMapOvr>
  <p:transition spd="med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93E8-D982-EE5F-722D-C8FFD4B1FB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pl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Odpowiedź..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CED9B-3AA4-6657-52D7-A3AE595B4F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owyższe stwierdzenie jest </a:t>
            </a:r>
            <a:r>
              <a:rPr lang="pl" sz="1800" b="1" i="0" strike="noStrike" cap="none" spc="0" baseline="0">
                <a:solidFill>
                  <a:srgbClr val="548235"/>
                </a:solidFill>
                <a:effectLst/>
                <a:latin typeface="Calibri"/>
                <a:ea typeface="Calibri"/>
                <a:cs typeface="Calibri"/>
              </a:rPr>
              <a:t>prawdziwe</a:t>
            </a: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</a:t>
            </a:r>
          </a:p>
          <a:p>
            <a:pPr marL="0" indent="0">
              <a:buNone/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Każdy może angażować się w działania odwetowe. Dotyczy to każdego kierownika lub współpracownika, który traktuje kogoś negatywnie z powodu zgłoszenia wątpliwości lub skargi w dobrej wierze. 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B475D77-4434-8297-1245-1F15891FDD8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A324A152-4068-BF32-861E-706313346D3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215164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0E09D-6897-4B77-6400-D2F29ADC8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" sz="21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Dziękujemy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6490DC-2417-7F40-0F75-FE51C0D8A7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" sz="1900" b="0" i="0" strike="noStrike" cap="none" spc="0" baseline="0">
                <a:solidFill>
                  <a:srgbClr val="9DC3E6"/>
                </a:solidFill>
                <a:effectLst/>
                <a:latin typeface="Calibri"/>
                <a:ea typeface="Calibri"/>
                <a:cs typeface="Calibri"/>
              </a:rPr>
              <a:t>Wszelkie pytani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BFC064-E450-DFF8-1DE8-AA171D254DE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pl" sz="900" b="0" i="0" strike="noStrike" cap="none" spc="0" baseline="0">
                <a:solidFill>
                  <a:srgbClr val="898989"/>
                </a:solidFill>
                <a:effectLst/>
                <a:latin typeface="Calibri"/>
                <a:ea typeface="Calibri"/>
                <a:cs typeface="Calibri"/>
              </a:rPr>
              <a:t>[NAZWA ZDARZENIA] [DATA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E5CE9B-CFAD-F960-4423-47EF2ED4D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84641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F4DD6-51D1-771A-AD6D-9F880AB71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Zapobieganie dyskryminacji i nękaniu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A5B44-1D6A-1552-FB9B-24626E626C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59D3B30-F695-4079-1707-50E90A4119B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1243714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97889802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3D1B3-2675-F520-80FE-B41A6F28C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Czym jest nękanie i dyskryminacja?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FB72F0-297D-5604-D514-2CB5A39DCC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4F99A9FE-9AEF-F820-F65C-BE5BE15E8F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1480152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26300358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0B15D-6946-CDFC-CF72-E48A4D07B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Uziemienie chronio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4B8F4E0-B73C-7243-2528-40AE79BB37BD}"/>
              </a:ext>
            </a:extLst>
          </p:cNvPr>
          <p:cNvSpPr txBox="1"/>
          <p:nvPr/>
        </p:nvSpPr>
        <p:spPr>
          <a:xfrm>
            <a:off x="5488686" y="1059066"/>
            <a:ext cx="3454146" cy="1554480"/>
          </a:xfrm>
          <a:prstGeom prst="rect">
            <a:avLst/>
          </a:prstGeom>
        </p:spPr>
        <p:txBody>
          <a:bodyPr vert="horz" lIns="91440" tIns="45720" rIns="91440" bIns="45720" rtlCol="0">
            <a:normAutofit fontScale="97500"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pl" sz="21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Pamiętaj:</a:t>
            </a:r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pl" sz="21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Traktuj wszystkich z szacunkiem. Nie dyskryminuj na chronionym terenie</a:t>
            </a:r>
          </a:p>
        </p:txBody>
      </p:sp>
      <p:graphicFrame>
        <p:nvGraphicFramePr>
          <p:cNvPr id="10" name="Content Placeholder 2">
            <a:extLst>
              <a:ext uri="{FF2B5EF4-FFF2-40B4-BE49-F238E27FC236}">
                <a16:creationId xmlns:a16="http://schemas.microsoft.com/office/drawing/2014/main" id="{504F7EF8-8C04-9AAF-56B7-B0D226A1EC06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50762908"/>
              </p:ext>
            </p:extLst>
          </p:nvPr>
        </p:nvGraphicFramePr>
        <p:xfrm>
          <a:off x="628650" y="2642616"/>
          <a:ext cx="8158734" cy="4001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979A9FCC-7447-B3A4-6B62-83027FAB83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195FBB-B7DC-ED84-3875-07C254CEF76A}"/>
              </a:ext>
            </a:extLst>
          </p:cNvPr>
          <p:cNvSpPr txBox="1"/>
          <p:nvPr/>
        </p:nvSpPr>
        <p:spPr>
          <a:xfrm>
            <a:off x="628650" y="1639669"/>
            <a:ext cx="4213098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W zależności od miejsca pracy mogą one obejmować:</a:t>
            </a:r>
          </a:p>
        </p:txBody>
      </p:sp>
    </p:spTree>
    <p:extLst>
      <p:ext uri="{BB962C8B-B14F-4D97-AF65-F5344CB8AC3E}">
        <p14:creationId xmlns:p14="http://schemas.microsoft.com/office/powerpoint/2010/main" val="6327143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B3EB6-D382-7E5B-2128-1E2AD3387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Molestowanie seksualn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3AC1A7-2052-7988-8268-65113A222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graphicFrame>
        <p:nvGraphicFramePr>
          <p:cNvPr id="11" name="TextBox 7">
            <a:extLst>
              <a:ext uri="{FF2B5EF4-FFF2-40B4-BE49-F238E27FC236}">
                <a16:creationId xmlns:a16="http://schemas.microsoft.com/office/drawing/2014/main" id="{29D13C8E-8DED-44C4-E9EA-CA8A2E5418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2310378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958796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1066B-6332-D0B1-464F-82C26F9635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l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PRAWDA CZY FAŁSZ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39AE83-D0E3-35F9-4EDD-3B02A67DEA40}"/>
              </a:ext>
            </a:extLst>
          </p:cNvPr>
          <p:cNvSpPr txBox="1"/>
          <p:nvPr/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Gdy pracownik jest świadkiem nękania, </a:t>
            </a:r>
            <a:r>
              <a:rPr lang="pl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menedżer</a:t>
            </a: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jest zazwyczaj złym aktorem.</a:t>
            </a:r>
            <a:endParaRPr lang="en-US" kern="120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68CECCB0-AD0A-475B-29B8-6C408B98E71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3DB1538-D7D3-12C4-C7DC-486BD86701E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728087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32729-D1A0-2498-9446-B4C38D051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l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Odpowiedź..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0F00E2-00FB-9955-A67E-6B6D62965415}"/>
              </a:ext>
            </a:extLst>
          </p:cNvPr>
          <p:cNvSpPr txBox="1"/>
          <p:nvPr/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owyższe stwierdzenie jest </a:t>
            </a:r>
            <a:r>
              <a:rPr lang="pl" sz="18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FAŁSZYWE</a:t>
            </a:r>
          </a:p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endParaRPr lang="en-US" kern="1200">
              <a:latin typeface="+mn-lt"/>
              <a:ea typeface="+mn-ea"/>
              <a:cs typeface="+mn-cs"/>
            </a:endParaRPr>
          </a:p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pl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Współpracownicy są tak samo skłonni do angażowania się w molestowanie, jak kierownicy.</a:t>
            </a:r>
            <a:endParaRPr lang="en-US" kern="1200"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D90AD7F-E22E-A72A-71B9-E3A237FA46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071717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1902E-2637-717F-B53D-572920A6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Wrogie środowisko pracy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57ADB30-AA57-FF7E-1163-C8F0957A0B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39696"/>
            <a:ext cx="3886200" cy="5135424"/>
          </a:xfrm>
        </p:spPr>
        <p:txBody>
          <a:bodyPr/>
          <a:lstStyle/>
          <a:p>
            <a:pPr marL="0" indent="0">
              <a:buNone/>
            </a:pPr>
            <a:r>
              <a:rPr lang="pl" sz="21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zykład (tworzenie komentarzy w czasie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" sz="21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           „Wygląda dobrze, dziewczyno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" sz="21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„Dlaczego nie uśmiechasz się bardziej?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pl" sz="21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„Wykorzystuj chłopięce uroki, aby mieć sens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3DB67EF-BBA9-553C-40B3-F0F1A8116F2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5449FD41-97DA-B96E-E874-37F373C3A50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graphicFrame>
        <p:nvGraphicFramePr>
          <p:cNvPr id="11" name="TextBox 8">
            <a:extLst>
              <a:ext uri="{FF2B5EF4-FFF2-40B4-BE49-F238E27FC236}">
                <a16:creationId xmlns:a16="http://schemas.microsoft.com/office/drawing/2014/main" id="{5C8EE2C3-03A6-ABAF-3E18-D116DCC72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9323639"/>
              </p:ext>
            </p:extLst>
          </p:nvPr>
        </p:nvGraphicFramePr>
        <p:xfrm>
          <a:off x="4629150" y="1508760"/>
          <a:ext cx="3886200" cy="5135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Cloud 9">
            <a:extLst>
              <a:ext uri="{FF2B5EF4-FFF2-40B4-BE49-F238E27FC236}">
                <a16:creationId xmlns:a16="http://schemas.microsoft.com/office/drawing/2014/main" id="{4973049F-7464-8CEC-6A0C-5251C1FF3DEA}"/>
              </a:ext>
            </a:extLst>
          </p:cNvPr>
          <p:cNvSpPr/>
          <p:nvPr/>
        </p:nvSpPr>
        <p:spPr>
          <a:xfrm>
            <a:off x="73151" y="2913204"/>
            <a:ext cx="3401301" cy="867042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FC81ACA9-37AB-3848-2CFF-062B6FE76A28}"/>
              </a:ext>
            </a:extLst>
          </p:cNvPr>
          <p:cNvSpPr/>
          <p:nvPr/>
        </p:nvSpPr>
        <p:spPr>
          <a:xfrm>
            <a:off x="149234" y="4268382"/>
            <a:ext cx="3694176" cy="1049922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1A002978-A98E-CB9D-6EC7-7BD47016C50B}"/>
              </a:ext>
            </a:extLst>
          </p:cNvPr>
          <p:cNvSpPr/>
          <p:nvPr/>
        </p:nvSpPr>
        <p:spPr>
          <a:xfrm>
            <a:off x="44833" y="5436222"/>
            <a:ext cx="4178808" cy="1482966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143120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Unix 3.10.0.1160"/>
  <p:tag name="AS_RELEASE_DATE" val="2023.06.30"/>
  <p:tag name="AS_TITLE" val="Aspose.Slides for Java"/>
  <p:tag name="AS_VERSION" val="23.6"/>
  <p:tag name="THINKCELLPRESENTATIONDONOTDELETE" val="&lt;?xml version=&quot;1.0&quot; encoding=&quot;UTF-16&quot; standalone=&quot;yes&quot;?&gt;&lt;root reqver=&quot;24162&quot;&gt;&lt;version val=&quot;270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5.94189690230814804295E+00&quot;&gt;&lt;m_msothmcolidx val=&quot;0&quot;/&gt;&lt;m_rgb r=&quot;20&quot; g=&quot;38&quot; b=&quot;64&quot;/&gt;&lt;m_nBrightness tagver0=&quot;26206&quot; tagname0=&quot;m_nBrightnessUNRECOGNIZED&quot; val=&quot;0&quot;/&gt;&lt;/elem&gt;&lt;elem m_fUsage=&quot;1.90876410999999990281E+00&quot;&gt;&lt;m_msothmcolidx val=&quot;0&quot;/&gt;&lt;m_rgb r=&quot;F6&quot; g=&quot;F3&quot; b=&quot;EB&quot;/&gt;&lt;m_nBrightness tagver0=&quot;26206&quot; tagname0=&quot;m_nBrightnessUNRECOGNIZED&quot; val=&quot;0&quot;/&gt;&lt;/elem&gt;&lt;elem m_fUsage=&quot;1.56784161766145224703E+00&quot;&gt;&lt;m_msothmcolidx val=&quot;0&quot;/&gt;&lt;m_rgb r=&quot;EB&quot; g=&quot;EE&quot; b=&quot;E6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Iik6J0SZG7_0mBG8Xg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cjQMEtRZ.C8u5DBhC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PM IR PPT Standard - DRAFT - 12.14.18" id="{9CE6E63C-E94D-FB46-91E7-6AA3D17BB118}" vid="{90DFF340-5132-1E4A-9E8E-B23BC845A7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90C2D6ED61D4479406C8DA89CF0878" ma:contentTypeVersion="18" ma:contentTypeDescription="Create a new document." ma:contentTypeScope="" ma:versionID="9fab1500bc2d3a4d890516a255717ef1">
  <xsd:schema xmlns:xsd="http://www.w3.org/2001/XMLSchema" xmlns:xs="http://www.w3.org/2001/XMLSchema" xmlns:p="http://schemas.microsoft.com/office/2006/metadata/properties" xmlns:ns2="d7a05af7-d3ec-4963-864c-209504fa34de" xmlns:ns3="2ed82cd1-6b84-4a0b-9746-0d197a81b83d" targetNamespace="http://schemas.microsoft.com/office/2006/metadata/properties" ma:root="true" ma:fieldsID="1d2897f00ee0e34ba7a8446ba2849d29" ns2:_="" ns3:_="">
    <xsd:import namespace="d7a05af7-d3ec-4963-864c-209504fa34de"/>
    <xsd:import namespace="2ed82cd1-6b84-4a0b-9746-0d197a81b8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a05af7-d3ec-4963-864c-209504fa34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ec43bc27-0046-4300-b48a-2db9dc89119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82cd1-6b84-4a0b-9746-0d197a81b8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7600404-635a-4f52-8c6e-abf865231489}" ma:internalName="TaxCatchAll" ma:showField="CatchAllData" ma:web="2ed82cd1-6b84-4a0b-9746-0d197a81b8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7a05af7-d3ec-4963-864c-209504fa34de">
      <Terms xmlns="http://schemas.microsoft.com/office/infopath/2007/PartnerControls"/>
    </lcf76f155ced4ddcb4097134ff3c332f>
    <TaxCatchAll xmlns="2ed82cd1-6b84-4a0b-9746-0d197a81b83d" xsi:nil="true"/>
  </documentManagement>
</p:properties>
</file>

<file path=customXml/itemProps1.xml><?xml version="1.0" encoding="utf-8"?>
<ds:datastoreItem xmlns:ds="http://schemas.openxmlformats.org/officeDocument/2006/customXml" ds:itemID="{716B392D-E5BF-4564-B6BF-23992C910A2D}">
  <ds:schemaRefs/>
</ds:datastoreItem>
</file>

<file path=customXml/itemProps2.xml><?xml version="1.0" encoding="utf-8"?>
<ds:datastoreItem xmlns:ds="http://schemas.openxmlformats.org/officeDocument/2006/customXml" ds:itemID="{FC480F10-BE65-4D28-A54D-405435C8ED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6CADE9-4D3D-4C64-A002-EFFA1FA05E14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f06a283-6e2a-4468-871b-e6c63acdb121"/>
    <ds:schemaRef ds:uri="f8d36d2f-c42f-4f1f-9b2f-abc69cc7a5ad"/>
    <ds:schemaRef ds:uri="http://www.w3.org/XML/1998/namespace"/>
    <ds:schemaRef ds:uri="d7a05af7-d3ec-4963-864c-209504fa34de"/>
    <ds:schemaRef ds:uri="2ed82cd1-6b84-4a0b-9746-0d197a81b83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PM IR PPT Standard - DRAFT - 12.14.18</Template>
  <TotalTime>12372</TotalTime>
  <Words>1646</Words>
  <Application>Microsoft Office PowerPoint</Application>
  <PresentationFormat>On-screen Show (4:3)</PresentationFormat>
  <Paragraphs>246</Paragraphs>
  <Slides>2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Zapobieganie dyskryminacji i nękaniu </vt:lpstr>
      <vt:lpstr>Zapobieganie dyskryminacji i nękaniu</vt:lpstr>
      <vt:lpstr>Czym jest nękanie i dyskryminacja? </vt:lpstr>
      <vt:lpstr>Uziemienie chronione</vt:lpstr>
      <vt:lpstr>Molestowanie seksualne</vt:lpstr>
      <vt:lpstr>PRAWDA CZY FAŁSZ?</vt:lpstr>
      <vt:lpstr>Odpowiedź...</vt:lpstr>
      <vt:lpstr>Wrogie środowisko pracy</vt:lpstr>
      <vt:lpstr>Stereotypy płci</vt:lpstr>
      <vt:lpstr>PRAWDA CZY FAŁSZ?</vt:lpstr>
      <vt:lpstr>Odpowiedź...</vt:lpstr>
      <vt:lpstr>Molestowanie seksualne – czy jesteś w stanie je dostrzec? </vt:lpstr>
      <vt:lpstr>Nieodpowiedni język i komentarze</vt:lpstr>
      <vt:lpstr>Wrogie środowisko pracy</vt:lpstr>
      <vt:lpstr>Na miejscu a poza nim</vt:lpstr>
      <vt:lpstr>Dyskryminacja</vt:lpstr>
      <vt:lpstr>Nękanie w miejscu pracy</vt:lpstr>
      <vt:lpstr>Osobiste a zawodowe</vt:lpstr>
      <vt:lpstr>Zachowanie w miejscu pracy – pytanie, które należy sobie zadać</vt:lpstr>
      <vt:lpstr>Obserwator – dostrzeganie niechcianych zachowań</vt:lpstr>
      <vt:lpstr>Co zrobić, jeśli zauważysz niewłaściwe zachowanie</vt:lpstr>
      <vt:lpstr>Polityka RPM dotycząca zakazu działań odwetowych </vt:lpstr>
      <vt:lpstr>Działania odwetowe </vt:lpstr>
      <vt:lpstr>Prawda czy fałsz?</vt:lpstr>
      <vt:lpstr>Odpowiedź...</vt:lpstr>
      <vt:lpstr>Dziękujemy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nn DeChant</dc:creator>
  <cp:lastModifiedBy>Shelley Earl</cp:lastModifiedBy>
  <cp:revision>36</cp:revision>
  <cp:lastPrinted>2020-04-30T20:14:04Z</cp:lastPrinted>
  <dcterms:created xsi:type="dcterms:W3CDTF">2018-12-18T18:53:57Z</dcterms:created>
  <dcterms:modified xsi:type="dcterms:W3CDTF">2024-03-25T18:4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90C2D6ED61D4479406C8DA89CF0878</vt:lpwstr>
  </property>
  <property fmtid="{D5CDD505-2E9C-101B-9397-08002B2CF9AE}" pid="3" name="MediaServiceImageTags">
    <vt:lpwstr/>
  </property>
</Properties>
</file>